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3"/>
  </p:notesMasterIdLst>
  <p:sldIdLst>
    <p:sldId id="392" r:id="rId5"/>
    <p:sldId id="347" r:id="rId6"/>
    <p:sldId id="380" r:id="rId8"/>
    <p:sldId id="401" r:id="rId9"/>
    <p:sldId id="406" r:id="rId10"/>
    <p:sldId id="407" r:id="rId11"/>
    <p:sldId id="405" r:id="rId12"/>
    <p:sldId id="408" r:id="rId13"/>
    <p:sldId id="410" r:id="rId14"/>
    <p:sldId id="394" r:id="rId15"/>
    <p:sldId id="404" r:id="rId16"/>
    <p:sldId id="411" r:id="rId17"/>
    <p:sldId id="412" r:id="rId18"/>
    <p:sldId id="420" r:id="rId19"/>
    <p:sldId id="422" r:id="rId20"/>
    <p:sldId id="421" r:id="rId21"/>
    <p:sldId id="415" r:id="rId22"/>
    <p:sldId id="416" r:id="rId23"/>
    <p:sldId id="365" r:id="rId24"/>
    <p:sldId id="423" r:id="rId25"/>
    <p:sldId id="424" r:id="rId26"/>
    <p:sldId id="425" r:id="rId27"/>
    <p:sldId id="398" r:id="rId28"/>
    <p:sldId id="395" r:id="rId29"/>
    <p:sldId id="379" r:id="rId30"/>
    <p:sldId id="426" r:id="rId31"/>
    <p:sldId id="397"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392"/>
            <p14:sldId id="347"/>
            <p14:sldId id="390"/>
          </p14:sldIdLst>
        </p14:section>
        <p14:section name="Content pages" id="{7E28E96D-50B7-3247-AD53-91BDC15BF350}">
          <p14:sldIdLst>
            <p14:sldId id="380"/>
            <p14:sldId id="401"/>
            <p14:sldId id="406"/>
            <p14:sldId id="407"/>
            <p14:sldId id="405"/>
            <p14:sldId id="408"/>
            <p14:sldId id="410"/>
            <p14:sldId id="394"/>
            <p14:sldId id="404"/>
            <p14:sldId id="411"/>
            <p14:sldId id="412"/>
            <p14:sldId id="420"/>
            <p14:sldId id="422"/>
            <p14:sldId id="421"/>
            <p14:sldId id="415"/>
            <p14:sldId id="416"/>
            <p14:sldId id="365"/>
            <p14:sldId id="423"/>
            <p14:sldId id="424"/>
            <p14:sldId id="425"/>
            <p14:sldId id="398"/>
            <p14:sldId id="395"/>
            <p14:sldId id="379"/>
            <p14:sldId id="426"/>
            <p14:sldId id="3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56AEA5-706C-4B39-B0C5-2CC88B726A63}" v="105" dt="2021-06-30T18:00:12.30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85008" autoAdjust="0"/>
  </p:normalViewPr>
  <p:slideViewPr>
    <p:cSldViewPr snapToGrid="0">
      <p:cViewPr varScale="1">
        <p:scale>
          <a:sx n="147" d="100"/>
          <a:sy n="147" d="100"/>
        </p:scale>
        <p:origin x="72" y="33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microsoft.com/office/2015/10/relationships/revisionInfo" Target="revisionInfo.xml" Id="rId39" /><Relationship Type="http://schemas.openxmlformats.org/officeDocument/2006/relationships/slide" Target="slides/slide17.xml" Id="rId21" /><Relationship Type="http://schemas.openxmlformats.org/officeDocument/2006/relationships/tags" Target="tags/tag1.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notesMaster" Target="notesMasters/notesMaster1.xml" Id="rId33" /><Relationship Type="http://schemas.openxmlformats.org/officeDocument/2006/relationships/tableStyles" Target="tableStyles.xml" Id="rId38"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theme" Target="theme/theme1.xml" Id="rId37"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viewProps" Target="viewProps.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presProps" Target="presProps.xml" Id="rId35" /><Relationship Type="http://schemas.openxmlformats.org/officeDocument/2006/relationships/slide" Target="slides/slide4.xml" Id="rId8" /><Relationship Type="http://schemas.openxmlformats.org/officeDocument/2006/relationships/customXml" Target="../customXml/item3.xml" Id="rId3"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E9FE06-A007-4C6C-A9E6-C12946CC9711}" type="doc">
      <dgm:prSet loTypeId="urn:microsoft.com/office/officeart/2016/7/layout/ChevronBlockProcess" loCatId="process" qsTypeId="urn:microsoft.com/office/officeart/2005/8/quickstyle/simple2" qsCatId="simple" csTypeId="urn:microsoft.com/office/officeart/2005/8/colors/accent2_2" csCatId="accent2" phldr="1"/>
      <dgm:spPr/>
      <dgm:t>
        <a:bodyPr/>
        <a:lstStyle/>
        <a:p>
          <a:endParaRPr lang="en-US"/>
        </a:p>
      </dgm:t>
    </dgm:pt>
    <dgm:pt modelId="{670F61D7-5ABD-451F-8DB9-8787E8A4006D}">
      <dgm:prSet/>
      <dgm:spPr/>
      <dgm:t>
        <a:bodyPr/>
        <a:lstStyle/>
        <a:p>
          <a:r>
            <a:rPr lang="en-US"/>
            <a:t>Determine</a:t>
          </a:r>
        </a:p>
      </dgm:t>
    </dgm:pt>
    <dgm:pt modelId="{A1B9EE16-3D8F-4EE5-B95D-EFDAADC68DAF}" type="parTrans" cxnId="{9E957CBF-9A8C-4A3E-8869-7FAFDF473937}">
      <dgm:prSet/>
      <dgm:spPr/>
      <dgm:t>
        <a:bodyPr/>
        <a:lstStyle/>
        <a:p>
          <a:endParaRPr lang="en-US"/>
        </a:p>
      </dgm:t>
    </dgm:pt>
    <dgm:pt modelId="{D8A7435B-C9C1-4279-B87E-7DEB1042798C}" type="sibTrans" cxnId="{9E957CBF-9A8C-4A3E-8869-7FAFDF473937}">
      <dgm:prSet/>
      <dgm:spPr/>
      <dgm:t>
        <a:bodyPr/>
        <a:lstStyle/>
        <a:p>
          <a:endParaRPr lang="en-US"/>
        </a:p>
      </dgm:t>
    </dgm:pt>
    <dgm:pt modelId="{6B6C3309-2482-4798-85ED-494CA8AFD8F6}">
      <dgm:prSet/>
      <dgm:spPr/>
      <dgm:t>
        <a:bodyPr/>
        <a:lstStyle/>
        <a:p>
          <a:r>
            <a:rPr lang="en-US" dirty="0"/>
            <a:t>Determine which static assets you want to host on the Microsoft 365 CDN</a:t>
          </a:r>
        </a:p>
      </dgm:t>
    </dgm:pt>
    <dgm:pt modelId="{38058DEB-3DC4-4F08-86B5-B32407043C83}" type="parTrans" cxnId="{1A55E512-9EBC-45D6-9B6F-014C615ADF10}">
      <dgm:prSet/>
      <dgm:spPr/>
      <dgm:t>
        <a:bodyPr/>
        <a:lstStyle/>
        <a:p>
          <a:endParaRPr lang="en-US"/>
        </a:p>
      </dgm:t>
    </dgm:pt>
    <dgm:pt modelId="{8CEFFDE0-DC6C-4039-B4FF-2D19ACC58C85}" type="sibTrans" cxnId="{1A55E512-9EBC-45D6-9B6F-014C615ADF10}">
      <dgm:prSet/>
      <dgm:spPr/>
      <dgm:t>
        <a:bodyPr/>
        <a:lstStyle/>
        <a:p>
          <a:endParaRPr lang="en-US"/>
        </a:p>
      </dgm:t>
    </dgm:pt>
    <dgm:pt modelId="{945F21F8-FEC3-4228-89A8-24926C937878}">
      <dgm:prSet/>
      <dgm:spPr/>
      <dgm:t>
        <a:bodyPr/>
        <a:lstStyle/>
        <a:p>
          <a:r>
            <a:rPr lang="en-US"/>
            <a:t>Typical static asset file types hosted on CDN are .css, .eot, .gif, .ico, .jpeg, .jpg, .js,.png, .svg, .ttf, and .woff </a:t>
          </a:r>
        </a:p>
      </dgm:t>
    </dgm:pt>
    <dgm:pt modelId="{D7CD2F12-C72B-462F-BEC3-B3763DB5EDED}" type="parTrans" cxnId="{3E3EDEAE-DB33-4119-A5AB-1F0A8CF9A4BF}">
      <dgm:prSet/>
      <dgm:spPr/>
      <dgm:t>
        <a:bodyPr/>
        <a:lstStyle/>
        <a:p>
          <a:endParaRPr lang="en-US"/>
        </a:p>
      </dgm:t>
    </dgm:pt>
    <dgm:pt modelId="{68FF59C8-E5AC-45E4-BD99-6CA74F071E28}" type="sibTrans" cxnId="{3E3EDEAE-DB33-4119-A5AB-1F0A8CF9A4BF}">
      <dgm:prSet/>
      <dgm:spPr/>
      <dgm:t>
        <a:bodyPr/>
        <a:lstStyle/>
        <a:p>
          <a:endParaRPr lang="en-US"/>
        </a:p>
      </dgm:t>
    </dgm:pt>
    <dgm:pt modelId="{1A278B0A-B872-4AF7-838F-2E4F15688083}">
      <dgm:prSet/>
      <dgm:spPr/>
      <dgm:t>
        <a:bodyPr/>
        <a:lstStyle/>
        <a:p>
          <a:r>
            <a:rPr lang="en-US"/>
            <a:t>Determine</a:t>
          </a:r>
        </a:p>
      </dgm:t>
    </dgm:pt>
    <dgm:pt modelId="{F8087918-3ED8-4275-896D-3C35E9ACD414}" type="parTrans" cxnId="{6BFCDB4E-89B3-41A1-A768-9AFB2B066166}">
      <dgm:prSet/>
      <dgm:spPr/>
      <dgm:t>
        <a:bodyPr/>
        <a:lstStyle/>
        <a:p>
          <a:endParaRPr lang="en-US"/>
        </a:p>
      </dgm:t>
    </dgm:pt>
    <dgm:pt modelId="{5677F034-1833-4EA5-B5F4-64325510B7CA}" type="sibTrans" cxnId="{6BFCDB4E-89B3-41A1-A768-9AFB2B066166}">
      <dgm:prSet/>
      <dgm:spPr/>
      <dgm:t>
        <a:bodyPr/>
        <a:lstStyle/>
        <a:p>
          <a:endParaRPr lang="en-US"/>
        </a:p>
      </dgm:t>
    </dgm:pt>
    <dgm:pt modelId="{E9806957-F632-4EED-B3E0-5B4F26C58FCB}">
      <dgm:prSet/>
      <dgm:spPr/>
      <dgm:t>
        <a:bodyPr/>
        <a:lstStyle/>
        <a:p>
          <a:r>
            <a:rPr lang="en-US"/>
            <a:t>Determine where you want to store your assets </a:t>
          </a:r>
        </a:p>
      </dgm:t>
    </dgm:pt>
    <dgm:pt modelId="{902648A2-D810-42FB-A652-4137662A034C}" type="parTrans" cxnId="{607BF344-C992-4449-A6AF-54560706672A}">
      <dgm:prSet/>
      <dgm:spPr/>
      <dgm:t>
        <a:bodyPr/>
        <a:lstStyle/>
        <a:p>
          <a:endParaRPr lang="en-US"/>
        </a:p>
      </dgm:t>
    </dgm:pt>
    <dgm:pt modelId="{40C1CA73-3025-4BAF-BAB2-567ED44ED4B6}" type="sibTrans" cxnId="{607BF344-C992-4449-A6AF-54560706672A}">
      <dgm:prSet/>
      <dgm:spPr/>
      <dgm:t>
        <a:bodyPr/>
        <a:lstStyle/>
        <a:p>
          <a:endParaRPr lang="en-US"/>
        </a:p>
      </dgm:t>
    </dgm:pt>
    <dgm:pt modelId="{D3CD1CFD-DBE0-47FE-8852-2E7DD58DFC69}">
      <dgm:prSet/>
      <dgm:spPr/>
      <dgm:t>
        <a:bodyPr/>
        <a:lstStyle/>
        <a:p>
          <a:r>
            <a:rPr lang="en-US"/>
            <a:t>The CDN fetches your assets from a location called an origin</a:t>
          </a:r>
        </a:p>
      </dgm:t>
    </dgm:pt>
    <dgm:pt modelId="{547ACBE4-B2A8-43C3-8BB8-36FB122C5D25}" type="parTrans" cxnId="{418950A6-5963-4082-828D-958DAF6A7427}">
      <dgm:prSet/>
      <dgm:spPr/>
      <dgm:t>
        <a:bodyPr/>
        <a:lstStyle/>
        <a:p>
          <a:endParaRPr lang="en-US"/>
        </a:p>
      </dgm:t>
    </dgm:pt>
    <dgm:pt modelId="{A99542FF-0FF6-4856-BD1F-49A5F0BE25DB}" type="sibTrans" cxnId="{418950A6-5963-4082-828D-958DAF6A7427}">
      <dgm:prSet/>
      <dgm:spPr/>
      <dgm:t>
        <a:bodyPr/>
        <a:lstStyle/>
        <a:p>
          <a:endParaRPr lang="en-US"/>
        </a:p>
      </dgm:t>
    </dgm:pt>
    <dgm:pt modelId="{866292A2-B02F-4EAF-86A5-F5E33EBD7D18}">
      <dgm:prSet/>
      <dgm:spPr/>
      <dgm:t>
        <a:bodyPr/>
        <a:lstStyle/>
        <a:p>
          <a:r>
            <a:rPr lang="en-US"/>
            <a:t>This origin is a folder or SharePoint library</a:t>
          </a:r>
        </a:p>
      </dgm:t>
    </dgm:pt>
    <dgm:pt modelId="{4B1F6E5E-A481-444F-9925-09CCB17612CE}" type="parTrans" cxnId="{3B9314AE-2F4C-44E3-99C7-D0E3534B0524}">
      <dgm:prSet/>
      <dgm:spPr/>
      <dgm:t>
        <a:bodyPr/>
        <a:lstStyle/>
        <a:p>
          <a:endParaRPr lang="en-US"/>
        </a:p>
      </dgm:t>
    </dgm:pt>
    <dgm:pt modelId="{4F9311EF-62C2-4950-9B47-B2E621B1D43A}" type="sibTrans" cxnId="{3B9314AE-2F4C-44E3-99C7-D0E3534B0524}">
      <dgm:prSet/>
      <dgm:spPr/>
      <dgm:t>
        <a:bodyPr/>
        <a:lstStyle/>
        <a:p>
          <a:endParaRPr lang="en-US"/>
        </a:p>
      </dgm:t>
    </dgm:pt>
    <dgm:pt modelId="{8A881F6D-BAB6-45CB-B813-0F10430C6FE0}">
      <dgm:prSet/>
      <dgm:spPr/>
      <dgm:t>
        <a:bodyPr/>
        <a:lstStyle/>
        <a:p>
          <a:r>
            <a:rPr lang="en-US"/>
            <a:t>Determine</a:t>
          </a:r>
        </a:p>
      </dgm:t>
    </dgm:pt>
    <dgm:pt modelId="{A495DEF1-8257-4DF6-A0BF-6D20BFC6DAB5}" type="parTrans" cxnId="{E5408597-9E13-4E07-841B-C15C416EDC44}">
      <dgm:prSet/>
      <dgm:spPr/>
      <dgm:t>
        <a:bodyPr/>
        <a:lstStyle/>
        <a:p>
          <a:endParaRPr lang="en-US"/>
        </a:p>
      </dgm:t>
    </dgm:pt>
    <dgm:pt modelId="{84506732-69C2-471E-8BE2-A23E58505307}" type="sibTrans" cxnId="{E5408597-9E13-4E07-841B-C15C416EDC44}">
      <dgm:prSet/>
      <dgm:spPr/>
      <dgm:t>
        <a:bodyPr/>
        <a:lstStyle/>
        <a:p>
          <a:endParaRPr lang="en-US"/>
        </a:p>
      </dgm:t>
    </dgm:pt>
    <dgm:pt modelId="{7B08C21E-3E17-4D66-841D-FF0D3F13642E}">
      <dgm:prSet/>
      <dgm:spPr/>
      <dgm:t>
        <a:bodyPr/>
        <a:lstStyle/>
        <a:p>
          <a:r>
            <a:rPr lang="en-US"/>
            <a:t>Determine whether the assets should be made public or kept private. You do this when you choose whether each origin should be public or private</a:t>
          </a:r>
        </a:p>
      </dgm:t>
    </dgm:pt>
    <dgm:pt modelId="{80DA141E-A08F-442E-92BB-97C465434ACA}" type="parTrans" cxnId="{E690966A-96C1-4820-A22F-39C88F0D7056}">
      <dgm:prSet/>
      <dgm:spPr/>
      <dgm:t>
        <a:bodyPr/>
        <a:lstStyle/>
        <a:p>
          <a:endParaRPr lang="en-US"/>
        </a:p>
      </dgm:t>
    </dgm:pt>
    <dgm:pt modelId="{0388A721-89F9-4A95-8167-9DB33D715D5F}" type="sibTrans" cxnId="{E690966A-96C1-4820-A22F-39C88F0D7056}">
      <dgm:prSet/>
      <dgm:spPr/>
      <dgm:t>
        <a:bodyPr/>
        <a:lstStyle/>
        <a:p>
          <a:endParaRPr lang="en-US"/>
        </a:p>
      </dgm:t>
    </dgm:pt>
    <dgm:pt modelId="{37CFE3D7-0BA2-4490-AF71-5C48038C45EE}">
      <dgm:prSet/>
      <dgm:spPr/>
      <dgm:t>
        <a:bodyPr/>
        <a:lstStyle/>
        <a:p>
          <a:r>
            <a:rPr lang="en-US"/>
            <a:t>Have</a:t>
          </a:r>
        </a:p>
      </dgm:t>
    </dgm:pt>
    <dgm:pt modelId="{1822DE7F-58C2-41E5-848A-0F47189DB988}" type="parTrans" cxnId="{2ABB12F1-72B3-418E-8DB0-5218D37D73EE}">
      <dgm:prSet/>
      <dgm:spPr/>
      <dgm:t>
        <a:bodyPr/>
        <a:lstStyle/>
        <a:p>
          <a:endParaRPr lang="en-US"/>
        </a:p>
      </dgm:t>
    </dgm:pt>
    <dgm:pt modelId="{E0F5D68A-D51F-4F47-9D35-CF45544EA936}" type="sibTrans" cxnId="{2ABB12F1-72B3-418E-8DB0-5218D37D73EE}">
      <dgm:prSet/>
      <dgm:spPr/>
      <dgm:t>
        <a:bodyPr/>
        <a:lstStyle/>
        <a:p>
          <a:endParaRPr lang="en-US"/>
        </a:p>
      </dgm:t>
    </dgm:pt>
    <dgm:pt modelId="{3A01F74E-8D1D-479D-AF9D-736DEFBF8532}">
      <dgm:prSet/>
      <dgm:spPr/>
      <dgm:t>
        <a:bodyPr/>
        <a:lstStyle/>
        <a:p>
          <a:r>
            <a:rPr lang="en-US"/>
            <a:t>You can have multiple origins in which some are public, and some are private</a:t>
          </a:r>
        </a:p>
      </dgm:t>
    </dgm:pt>
    <dgm:pt modelId="{BB526268-6191-48DB-BEFA-186293012AB3}" type="parTrans" cxnId="{41A9FFB6-3222-4DEE-A361-631EB9376897}">
      <dgm:prSet/>
      <dgm:spPr/>
      <dgm:t>
        <a:bodyPr/>
        <a:lstStyle/>
        <a:p>
          <a:endParaRPr lang="en-US"/>
        </a:p>
      </dgm:t>
    </dgm:pt>
    <dgm:pt modelId="{4D1C261C-1065-429B-8D3F-857A23EBE96E}" type="sibTrans" cxnId="{41A9FFB6-3222-4DEE-A361-631EB9376897}">
      <dgm:prSet/>
      <dgm:spPr/>
      <dgm:t>
        <a:bodyPr/>
        <a:lstStyle/>
        <a:p>
          <a:endParaRPr lang="en-US"/>
        </a:p>
      </dgm:t>
    </dgm:pt>
    <dgm:pt modelId="{8D9B7B3A-5071-4038-B707-FACE34372E5A}" type="pres">
      <dgm:prSet presAssocID="{B6E9FE06-A007-4C6C-A9E6-C12946CC9711}" presName="Name0" presStyleCnt="0">
        <dgm:presLayoutVars>
          <dgm:dir/>
          <dgm:animLvl val="lvl"/>
          <dgm:resizeHandles val="exact"/>
        </dgm:presLayoutVars>
      </dgm:prSet>
      <dgm:spPr/>
    </dgm:pt>
    <dgm:pt modelId="{F37C8D92-3ACE-4FE7-B4B6-978803431CC6}" type="pres">
      <dgm:prSet presAssocID="{670F61D7-5ABD-451F-8DB9-8787E8A4006D}" presName="composite" presStyleCnt="0"/>
      <dgm:spPr/>
    </dgm:pt>
    <dgm:pt modelId="{DB064558-9B3D-481F-8838-2EB3FEA258EC}" type="pres">
      <dgm:prSet presAssocID="{670F61D7-5ABD-451F-8DB9-8787E8A4006D}" presName="parTx" presStyleLbl="alignNode1" presStyleIdx="0" presStyleCnt="4">
        <dgm:presLayoutVars>
          <dgm:chMax val="0"/>
          <dgm:chPref val="0"/>
        </dgm:presLayoutVars>
      </dgm:prSet>
      <dgm:spPr/>
    </dgm:pt>
    <dgm:pt modelId="{0263AF83-CDCD-4339-B365-BB5E716F64BF}" type="pres">
      <dgm:prSet presAssocID="{670F61D7-5ABD-451F-8DB9-8787E8A4006D}" presName="desTx" presStyleLbl="alignAccFollowNode1" presStyleIdx="0" presStyleCnt="4">
        <dgm:presLayoutVars/>
      </dgm:prSet>
      <dgm:spPr/>
    </dgm:pt>
    <dgm:pt modelId="{A0E852F4-EB07-4E84-B374-FF826CECB698}" type="pres">
      <dgm:prSet presAssocID="{D8A7435B-C9C1-4279-B87E-7DEB1042798C}" presName="space" presStyleCnt="0"/>
      <dgm:spPr/>
    </dgm:pt>
    <dgm:pt modelId="{535EA793-6299-4BF6-BA13-A6ABAAB29D69}" type="pres">
      <dgm:prSet presAssocID="{1A278B0A-B872-4AF7-838F-2E4F15688083}" presName="composite" presStyleCnt="0"/>
      <dgm:spPr/>
    </dgm:pt>
    <dgm:pt modelId="{E32BB0F0-BD10-4BF8-AA42-BF53E1EC7058}" type="pres">
      <dgm:prSet presAssocID="{1A278B0A-B872-4AF7-838F-2E4F15688083}" presName="parTx" presStyleLbl="alignNode1" presStyleIdx="1" presStyleCnt="4">
        <dgm:presLayoutVars>
          <dgm:chMax val="0"/>
          <dgm:chPref val="0"/>
        </dgm:presLayoutVars>
      </dgm:prSet>
      <dgm:spPr/>
    </dgm:pt>
    <dgm:pt modelId="{780E318A-7AF2-43AD-A9C8-06D49DAFF69B}" type="pres">
      <dgm:prSet presAssocID="{1A278B0A-B872-4AF7-838F-2E4F15688083}" presName="desTx" presStyleLbl="alignAccFollowNode1" presStyleIdx="1" presStyleCnt="4">
        <dgm:presLayoutVars/>
      </dgm:prSet>
      <dgm:spPr/>
    </dgm:pt>
    <dgm:pt modelId="{38C82CF6-32E4-4DF4-B7F9-2C9E208A9F85}" type="pres">
      <dgm:prSet presAssocID="{5677F034-1833-4EA5-B5F4-64325510B7CA}" presName="space" presStyleCnt="0"/>
      <dgm:spPr/>
    </dgm:pt>
    <dgm:pt modelId="{D72213AD-8CD3-4BED-906A-89228D6A17E1}" type="pres">
      <dgm:prSet presAssocID="{8A881F6D-BAB6-45CB-B813-0F10430C6FE0}" presName="composite" presStyleCnt="0"/>
      <dgm:spPr/>
    </dgm:pt>
    <dgm:pt modelId="{2FCA014B-618B-4C18-ABC5-A78A9D668E03}" type="pres">
      <dgm:prSet presAssocID="{8A881F6D-BAB6-45CB-B813-0F10430C6FE0}" presName="parTx" presStyleLbl="alignNode1" presStyleIdx="2" presStyleCnt="4">
        <dgm:presLayoutVars>
          <dgm:chMax val="0"/>
          <dgm:chPref val="0"/>
        </dgm:presLayoutVars>
      </dgm:prSet>
      <dgm:spPr/>
    </dgm:pt>
    <dgm:pt modelId="{D7989512-C4BA-4258-8246-DAFFE8CB1066}" type="pres">
      <dgm:prSet presAssocID="{8A881F6D-BAB6-45CB-B813-0F10430C6FE0}" presName="desTx" presStyleLbl="alignAccFollowNode1" presStyleIdx="2" presStyleCnt="4">
        <dgm:presLayoutVars/>
      </dgm:prSet>
      <dgm:spPr/>
    </dgm:pt>
    <dgm:pt modelId="{C192AA28-7053-481C-B05C-C9EC58716903}" type="pres">
      <dgm:prSet presAssocID="{84506732-69C2-471E-8BE2-A23E58505307}" presName="space" presStyleCnt="0"/>
      <dgm:spPr/>
    </dgm:pt>
    <dgm:pt modelId="{E6BDE542-2327-403B-A7E7-81F4C93E064D}" type="pres">
      <dgm:prSet presAssocID="{37CFE3D7-0BA2-4490-AF71-5C48038C45EE}" presName="composite" presStyleCnt="0"/>
      <dgm:spPr/>
    </dgm:pt>
    <dgm:pt modelId="{AC181963-2F69-4389-B9D7-1E2E7C3D4D27}" type="pres">
      <dgm:prSet presAssocID="{37CFE3D7-0BA2-4490-AF71-5C48038C45EE}" presName="parTx" presStyleLbl="alignNode1" presStyleIdx="3" presStyleCnt="4">
        <dgm:presLayoutVars>
          <dgm:chMax val="0"/>
          <dgm:chPref val="0"/>
        </dgm:presLayoutVars>
      </dgm:prSet>
      <dgm:spPr/>
    </dgm:pt>
    <dgm:pt modelId="{2DE3A0BB-5DEC-486B-ACFE-9B3002EFCA09}" type="pres">
      <dgm:prSet presAssocID="{37CFE3D7-0BA2-4490-AF71-5C48038C45EE}" presName="desTx" presStyleLbl="alignAccFollowNode1" presStyleIdx="3" presStyleCnt="4">
        <dgm:presLayoutVars/>
      </dgm:prSet>
      <dgm:spPr/>
    </dgm:pt>
  </dgm:ptLst>
  <dgm:cxnLst>
    <dgm:cxn modelId="{E4398910-907A-4BE0-92C2-34DB83F26F83}" type="presOf" srcId="{37CFE3D7-0BA2-4490-AF71-5C48038C45EE}" destId="{AC181963-2F69-4389-B9D7-1E2E7C3D4D27}" srcOrd="0" destOrd="0" presId="urn:microsoft.com/office/officeart/2016/7/layout/ChevronBlockProcess"/>
    <dgm:cxn modelId="{1A55E512-9EBC-45D6-9B6F-014C615ADF10}" srcId="{670F61D7-5ABD-451F-8DB9-8787E8A4006D}" destId="{6B6C3309-2482-4798-85ED-494CA8AFD8F6}" srcOrd="0" destOrd="0" parTransId="{38058DEB-3DC4-4F08-86B5-B32407043C83}" sibTransId="{8CEFFDE0-DC6C-4039-B4FF-2D19ACC58C85}"/>
    <dgm:cxn modelId="{607BF344-C992-4449-A6AF-54560706672A}" srcId="{1A278B0A-B872-4AF7-838F-2E4F15688083}" destId="{E9806957-F632-4EED-B3E0-5B4F26C58FCB}" srcOrd="0" destOrd="0" parTransId="{902648A2-D810-42FB-A652-4137662A034C}" sibTransId="{40C1CA73-3025-4BAF-BAB2-567ED44ED4B6}"/>
    <dgm:cxn modelId="{E690966A-96C1-4820-A22F-39C88F0D7056}" srcId="{8A881F6D-BAB6-45CB-B813-0F10430C6FE0}" destId="{7B08C21E-3E17-4D66-841D-FF0D3F13642E}" srcOrd="0" destOrd="0" parTransId="{80DA141E-A08F-442E-92BB-97C465434ACA}" sibTransId="{0388A721-89F9-4A95-8167-9DB33D715D5F}"/>
    <dgm:cxn modelId="{7189D34C-EB32-4C0B-91F1-F731C3A20C0B}" type="presOf" srcId="{3A01F74E-8D1D-479D-AF9D-736DEFBF8532}" destId="{2DE3A0BB-5DEC-486B-ACFE-9B3002EFCA09}" srcOrd="0" destOrd="0" presId="urn:microsoft.com/office/officeart/2016/7/layout/ChevronBlockProcess"/>
    <dgm:cxn modelId="{6BFCDB4E-89B3-41A1-A768-9AFB2B066166}" srcId="{B6E9FE06-A007-4C6C-A9E6-C12946CC9711}" destId="{1A278B0A-B872-4AF7-838F-2E4F15688083}" srcOrd="1" destOrd="0" parTransId="{F8087918-3ED8-4275-896D-3C35E9ACD414}" sibTransId="{5677F034-1833-4EA5-B5F4-64325510B7CA}"/>
    <dgm:cxn modelId="{FC5CDC52-9796-43B5-84FC-0360AF6FEBBC}" type="presOf" srcId="{670F61D7-5ABD-451F-8DB9-8787E8A4006D}" destId="{DB064558-9B3D-481F-8838-2EB3FEA258EC}" srcOrd="0" destOrd="0" presId="urn:microsoft.com/office/officeart/2016/7/layout/ChevronBlockProcess"/>
    <dgm:cxn modelId="{8F1BA975-777C-4C4D-A67A-CB8A19DB939E}" type="presOf" srcId="{866292A2-B02F-4EAF-86A5-F5E33EBD7D18}" destId="{780E318A-7AF2-43AD-A9C8-06D49DAFF69B}" srcOrd="0" destOrd="2" presId="urn:microsoft.com/office/officeart/2016/7/layout/ChevronBlockProcess"/>
    <dgm:cxn modelId="{F919E086-2BFA-4F84-9ADB-2EDEEA890A4A}" type="presOf" srcId="{7B08C21E-3E17-4D66-841D-FF0D3F13642E}" destId="{D7989512-C4BA-4258-8246-DAFFE8CB1066}" srcOrd="0" destOrd="0" presId="urn:microsoft.com/office/officeart/2016/7/layout/ChevronBlockProcess"/>
    <dgm:cxn modelId="{E5408597-9E13-4E07-841B-C15C416EDC44}" srcId="{B6E9FE06-A007-4C6C-A9E6-C12946CC9711}" destId="{8A881F6D-BAB6-45CB-B813-0F10430C6FE0}" srcOrd="2" destOrd="0" parTransId="{A495DEF1-8257-4DF6-A0BF-6D20BFC6DAB5}" sibTransId="{84506732-69C2-471E-8BE2-A23E58505307}"/>
    <dgm:cxn modelId="{06D16CA0-03E8-4413-A153-B86692E23907}" type="presOf" srcId="{6B6C3309-2482-4798-85ED-494CA8AFD8F6}" destId="{0263AF83-CDCD-4339-B365-BB5E716F64BF}" srcOrd="0" destOrd="0" presId="urn:microsoft.com/office/officeart/2016/7/layout/ChevronBlockProcess"/>
    <dgm:cxn modelId="{418950A6-5963-4082-828D-958DAF6A7427}" srcId="{E9806957-F632-4EED-B3E0-5B4F26C58FCB}" destId="{D3CD1CFD-DBE0-47FE-8852-2E7DD58DFC69}" srcOrd="0" destOrd="0" parTransId="{547ACBE4-B2A8-43C3-8BB8-36FB122C5D25}" sibTransId="{A99542FF-0FF6-4856-BD1F-49A5F0BE25DB}"/>
    <dgm:cxn modelId="{7E1779A9-024C-4033-8EE5-EE2EB2C863F4}" type="presOf" srcId="{945F21F8-FEC3-4228-89A8-24926C937878}" destId="{0263AF83-CDCD-4339-B365-BB5E716F64BF}" srcOrd="0" destOrd="1" presId="urn:microsoft.com/office/officeart/2016/7/layout/ChevronBlockProcess"/>
    <dgm:cxn modelId="{3B9314AE-2F4C-44E3-99C7-D0E3534B0524}" srcId="{E9806957-F632-4EED-B3E0-5B4F26C58FCB}" destId="{866292A2-B02F-4EAF-86A5-F5E33EBD7D18}" srcOrd="1" destOrd="0" parTransId="{4B1F6E5E-A481-444F-9925-09CCB17612CE}" sibTransId="{4F9311EF-62C2-4950-9B47-B2E621B1D43A}"/>
    <dgm:cxn modelId="{3E3EDEAE-DB33-4119-A5AB-1F0A8CF9A4BF}" srcId="{6B6C3309-2482-4798-85ED-494CA8AFD8F6}" destId="{945F21F8-FEC3-4228-89A8-24926C937878}" srcOrd="0" destOrd="0" parTransId="{D7CD2F12-C72B-462F-BEC3-B3763DB5EDED}" sibTransId="{68FF59C8-E5AC-45E4-BD99-6CA74F071E28}"/>
    <dgm:cxn modelId="{41A9FFB6-3222-4DEE-A361-631EB9376897}" srcId="{37CFE3D7-0BA2-4490-AF71-5C48038C45EE}" destId="{3A01F74E-8D1D-479D-AF9D-736DEFBF8532}" srcOrd="0" destOrd="0" parTransId="{BB526268-6191-48DB-BEFA-186293012AB3}" sibTransId="{4D1C261C-1065-429B-8D3F-857A23EBE96E}"/>
    <dgm:cxn modelId="{9E957CBF-9A8C-4A3E-8869-7FAFDF473937}" srcId="{B6E9FE06-A007-4C6C-A9E6-C12946CC9711}" destId="{670F61D7-5ABD-451F-8DB9-8787E8A4006D}" srcOrd="0" destOrd="0" parTransId="{A1B9EE16-3D8F-4EE5-B95D-EFDAADC68DAF}" sibTransId="{D8A7435B-C9C1-4279-B87E-7DEB1042798C}"/>
    <dgm:cxn modelId="{6D2EC1DA-D614-4639-BA76-938C51618F8A}" type="presOf" srcId="{D3CD1CFD-DBE0-47FE-8852-2E7DD58DFC69}" destId="{780E318A-7AF2-43AD-A9C8-06D49DAFF69B}" srcOrd="0" destOrd="1" presId="urn:microsoft.com/office/officeart/2016/7/layout/ChevronBlockProcess"/>
    <dgm:cxn modelId="{679430E0-72B1-4CBC-AC02-D65824F2D12D}" type="presOf" srcId="{1A278B0A-B872-4AF7-838F-2E4F15688083}" destId="{E32BB0F0-BD10-4BF8-AA42-BF53E1EC7058}" srcOrd="0" destOrd="0" presId="urn:microsoft.com/office/officeart/2016/7/layout/ChevronBlockProcess"/>
    <dgm:cxn modelId="{2ABB12F1-72B3-418E-8DB0-5218D37D73EE}" srcId="{B6E9FE06-A007-4C6C-A9E6-C12946CC9711}" destId="{37CFE3D7-0BA2-4490-AF71-5C48038C45EE}" srcOrd="3" destOrd="0" parTransId="{1822DE7F-58C2-41E5-848A-0F47189DB988}" sibTransId="{E0F5D68A-D51F-4F47-9D35-CF45544EA936}"/>
    <dgm:cxn modelId="{316586F1-F2EB-462C-85B8-01B83FE61EAD}" type="presOf" srcId="{8A881F6D-BAB6-45CB-B813-0F10430C6FE0}" destId="{2FCA014B-618B-4C18-ABC5-A78A9D668E03}" srcOrd="0" destOrd="0" presId="urn:microsoft.com/office/officeart/2016/7/layout/ChevronBlockProcess"/>
    <dgm:cxn modelId="{8F8021F9-3AF6-452E-94B6-497E452F3D0A}" type="presOf" srcId="{E9806957-F632-4EED-B3E0-5B4F26C58FCB}" destId="{780E318A-7AF2-43AD-A9C8-06D49DAFF69B}" srcOrd="0" destOrd="0" presId="urn:microsoft.com/office/officeart/2016/7/layout/ChevronBlockProcess"/>
    <dgm:cxn modelId="{6B8E60FE-C4E8-4DF7-A1F5-E1EFF0E3A6BA}" type="presOf" srcId="{B6E9FE06-A007-4C6C-A9E6-C12946CC9711}" destId="{8D9B7B3A-5071-4038-B707-FACE34372E5A}" srcOrd="0" destOrd="0" presId="urn:microsoft.com/office/officeart/2016/7/layout/ChevronBlockProcess"/>
    <dgm:cxn modelId="{9710E566-CB37-441C-9A9A-AFB0869D17ED}" type="presParOf" srcId="{8D9B7B3A-5071-4038-B707-FACE34372E5A}" destId="{F37C8D92-3ACE-4FE7-B4B6-978803431CC6}" srcOrd="0" destOrd="0" presId="urn:microsoft.com/office/officeart/2016/7/layout/ChevronBlockProcess"/>
    <dgm:cxn modelId="{C1295F52-E28B-40D6-9EDF-2CE599B4365B}" type="presParOf" srcId="{F37C8D92-3ACE-4FE7-B4B6-978803431CC6}" destId="{DB064558-9B3D-481F-8838-2EB3FEA258EC}" srcOrd="0" destOrd="0" presId="urn:microsoft.com/office/officeart/2016/7/layout/ChevronBlockProcess"/>
    <dgm:cxn modelId="{2F57FE71-6CC5-41DF-9105-AF2D8E4D8E3E}" type="presParOf" srcId="{F37C8D92-3ACE-4FE7-B4B6-978803431CC6}" destId="{0263AF83-CDCD-4339-B365-BB5E716F64BF}" srcOrd="1" destOrd="0" presId="urn:microsoft.com/office/officeart/2016/7/layout/ChevronBlockProcess"/>
    <dgm:cxn modelId="{270A6EEA-6A0C-45D5-AC05-23B272B7289F}" type="presParOf" srcId="{8D9B7B3A-5071-4038-B707-FACE34372E5A}" destId="{A0E852F4-EB07-4E84-B374-FF826CECB698}" srcOrd="1" destOrd="0" presId="urn:microsoft.com/office/officeart/2016/7/layout/ChevronBlockProcess"/>
    <dgm:cxn modelId="{9C339F7B-21B0-43DF-A8A9-4CD72B4EDA1E}" type="presParOf" srcId="{8D9B7B3A-5071-4038-B707-FACE34372E5A}" destId="{535EA793-6299-4BF6-BA13-A6ABAAB29D69}" srcOrd="2" destOrd="0" presId="urn:microsoft.com/office/officeart/2016/7/layout/ChevronBlockProcess"/>
    <dgm:cxn modelId="{963F1F5F-0F59-4EC2-8D34-1ACF33722E03}" type="presParOf" srcId="{535EA793-6299-4BF6-BA13-A6ABAAB29D69}" destId="{E32BB0F0-BD10-4BF8-AA42-BF53E1EC7058}" srcOrd="0" destOrd="0" presId="urn:microsoft.com/office/officeart/2016/7/layout/ChevronBlockProcess"/>
    <dgm:cxn modelId="{D83E98AD-7DD6-41A6-BFC1-766978D2A9F0}" type="presParOf" srcId="{535EA793-6299-4BF6-BA13-A6ABAAB29D69}" destId="{780E318A-7AF2-43AD-A9C8-06D49DAFF69B}" srcOrd="1" destOrd="0" presId="urn:microsoft.com/office/officeart/2016/7/layout/ChevronBlockProcess"/>
    <dgm:cxn modelId="{8307951F-F37F-41B5-AF70-F4FBDB128480}" type="presParOf" srcId="{8D9B7B3A-5071-4038-B707-FACE34372E5A}" destId="{38C82CF6-32E4-4DF4-B7F9-2C9E208A9F85}" srcOrd="3" destOrd="0" presId="urn:microsoft.com/office/officeart/2016/7/layout/ChevronBlockProcess"/>
    <dgm:cxn modelId="{917C4174-6ACA-44C7-A2C0-0A588B50DF5C}" type="presParOf" srcId="{8D9B7B3A-5071-4038-B707-FACE34372E5A}" destId="{D72213AD-8CD3-4BED-906A-89228D6A17E1}" srcOrd="4" destOrd="0" presId="urn:microsoft.com/office/officeart/2016/7/layout/ChevronBlockProcess"/>
    <dgm:cxn modelId="{49BF6337-EFDD-438B-912C-BD2204E3C826}" type="presParOf" srcId="{D72213AD-8CD3-4BED-906A-89228D6A17E1}" destId="{2FCA014B-618B-4C18-ABC5-A78A9D668E03}" srcOrd="0" destOrd="0" presId="urn:microsoft.com/office/officeart/2016/7/layout/ChevronBlockProcess"/>
    <dgm:cxn modelId="{2D878367-C083-41F9-AC8B-6401646415E0}" type="presParOf" srcId="{D72213AD-8CD3-4BED-906A-89228D6A17E1}" destId="{D7989512-C4BA-4258-8246-DAFFE8CB1066}" srcOrd="1" destOrd="0" presId="urn:microsoft.com/office/officeart/2016/7/layout/ChevronBlockProcess"/>
    <dgm:cxn modelId="{2C7231E5-EAB1-4E32-883D-15B954B2C43A}" type="presParOf" srcId="{8D9B7B3A-5071-4038-B707-FACE34372E5A}" destId="{C192AA28-7053-481C-B05C-C9EC58716903}" srcOrd="5" destOrd="0" presId="urn:microsoft.com/office/officeart/2016/7/layout/ChevronBlockProcess"/>
    <dgm:cxn modelId="{2464B101-5D4A-439C-8228-4C1421026962}" type="presParOf" srcId="{8D9B7B3A-5071-4038-B707-FACE34372E5A}" destId="{E6BDE542-2327-403B-A7E7-81F4C93E064D}" srcOrd="6" destOrd="0" presId="urn:microsoft.com/office/officeart/2016/7/layout/ChevronBlockProcess"/>
    <dgm:cxn modelId="{E5A14C91-FAB0-44E8-8081-085944799CE4}" type="presParOf" srcId="{E6BDE542-2327-403B-A7E7-81F4C93E064D}" destId="{AC181963-2F69-4389-B9D7-1E2E7C3D4D27}" srcOrd="0" destOrd="0" presId="urn:microsoft.com/office/officeart/2016/7/layout/ChevronBlockProcess"/>
    <dgm:cxn modelId="{A5F9BF8C-66C9-484C-AE7B-68320B23E3CA}" type="presParOf" srcId="{E6BDE542-2327-403B-A7E7-81F4C93E064D}" destId="{2DE3A0BB-5DEC-486B-ACFE-9B3002EFCA09}" srcOrd="1" destOrd="0" presId="urn:microsoft.com/office/officeart/2016/7/layout/ChevronBlock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2057FC-C393-4C61-AEE3-693722D3E730}"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6C6CA2F-AA09-4953-A93F-E96D3EC06F97}">
      <dgm:prSet/>
      <dgm:spPr/>
      <dgm:t>
        <a:bodyPr/>
        <a:lstStyle/>
        <a:p>
          <a:r>
            <a:rPr lang="en-US" dirty="0"/>
            <a:t>The Publishing feature in classic SharePoint Online sites automatically rewrites URLs of assets stored in public origins to their CDN equivalents so that assets are served from the CDN service instead of SharePoint.</a:t>
          </a:r>
        </a:p>
      </dgm:t>
    </dgm:pt>
    <dgm:pt modelId="{25871D37-5FC6-42A2-BD0E-37A3DBC33D99}" type="parTrans" cxnId="{FBF6975F-57BC-43D8-800C-4F023C635B22}">
      <dgm:prSet/>
      <dgm:spPr/>
      <dgm:t>
        <a:bodyPr/>
        <a:lstStyle/>
        <a:p>
          <a:endParaRPr lang="en-US"/>
        </a:p>
      </dgm:t>
    </dgm:pt>
    <dgm:pt modelId="{E31FC04E-3709-4B01-8E17-64FBE0AB7374}" type="sibTrans" cxnId="{FBF6975F-57BC-43D8-800C-4F023C635B22}">
      <dgm:prSet/>
      <dgm:spPr/>
      <dgm:t>
        <a:bodyPr/>
        <a:lstStyle/>
        <a:p>
          <a:endParaRPr lang="en-US"/>
        </a:p>
      </dgm:t>
    </dgm:pt>
    <dgm:pt modelId="{EA5F7C14-0DB0-4BAF-B19A-ADCDD3D676AB}">
      <dgm:prSet/>
      <dgm:spPr/>
      <dgm:t>
        <a:bodyPr/>
        <a:lstStyle/>
        <a:p>
          <a:r>
            <a:rPr lang="en-US"/>
            <a:t>The page hosting the assets must be created and exist in the /Pages library of the site</a:t>
          </a:r>
        </a:p>
      </dgm:t>
    </dgm:pt>
    <dgm:pt modelId="{C7711969-49D3-4573-B0C3-810F91CE0A9C}" type="parTrans" cxnId="{CCDD2E72-F53A-4336-9C24-A95772439574}">
      <dgm:prSet/>
      <dgm:spPr/>
      <dgm:t>
        <a:bodyPr/>
        <a:lstStyle/>
        <a:p>
          <a:endParaRPr lang="en-US"/>
        </a:p>
      </dgm:t>
    </dgm:pt>
    <dgm:pt modelId="{0BC3A8D2-8341-4AFB-85DC-006EF3961282}" type="sibTrans" cxnId="{CCDD2E72-F53A-4336-9C24-A95772439574}">
      <dgm:prSet/>
      <dgm:spPr/>
      <dgm:t>
        <a:bodyPr/>
        <a:lstStyle/>
        <a:p>
          <a:endParaRPr lang="en-US"/>
        </a:p>
      </dgm:t>
    </dgm:pt>
    <dgm:pt modelId="{F746A882-3A53-446C-A8D4-4A8B9F9956F2}">
      <dgm:prSet/>
      <dgm:spPr/>
      <dgm:t>
        <a:bodyPr/>
        <a:lstStyle/>
        <a:p>
          <a:r>
            <a:rPr lang="en-US" dirty="0"/>
            <a:t>The page must be checked-in and published</a:t>
          </a:r>
        </a:p>
      </dgm:t>
    </dgm:pt>
    <dgm:pt modelId="{DB4F278B-941C-40F8-9583-3CF7888E842B}" type="parTrans" cxnId="{0D3025BC-561F-403A-804B-9174E14E6096}">
      <dgm:prSet/>
      <dgm:spPr/>
      <dgm:t>
        <a:bodyPr/>
        <a:lstStyle/>
        <a:p>
          <a:endParaRPr lang="en-US"/>
        </a:p>
      </dgm:t>
    </dgm:pt>
    <dgm:pt modelId="{5CB7E74A-EBB4-41AD-8E20-7B3E7F15C204}" type="sibTrans" cxnId="{0D3025BC-561F-403A-804B-9174E14E6096}">
      <dgm:prSet/>
      <dgm:spPr/>
      <dgm:t>
        <a:bodyPr/>
        <a:lstStyle/>
        <a:p>
          <a:endParaRPr lang="en-US"/>
        </a:p>
      </dgm:t>
    </dgm:pt>
    <dgm:pt modelId="{7A482F32-FCDB-49F0-A3F0-59E5BEB4D9F4}">
      <dgm:prSet/>
      <dgm:spPr/>
      <dgm:t>
        <a:bodyPr/>
        <a:lstStyle/>
        <a:p>
          <a:r>
            <a:rPr lang="en-US"/>
            <a:t>Images must be reference from directly within the HTML of the page and not referenced from a .css or .master page.</a:t>
          </a:r>
        </a:p>
      </dgm:t>
    </dgm:pt>
    <dgm:pt modelId="{3F5ADE3E-7848-425E-9243-DAC3AB6D2A5D}" type="parTrans" cxnId="{26BA8B68-5C80-43DA-98C4-AA70E11BED3E}">
      <dgm:prSet/>
      <dgm:spPr/>
      <dgm:t>
        <a:bodyPr/>
        <a:lstStyle/>
        <a:p>
          <a:endParaRPr lang="en-US"/>
        </a:p>
      </dgm:t>
    </dgm:pt>
    <dgm:pt modelId="{1E178301-EF31-4F78-B086-50D033D808DB}" type="sibTrans" cxnId="{26BA8B68-5C80-43DA-98C4-AA70E11BED3E}">
      <dgm:prSet/>
      <dgm:spPr/>
      <dgm:t>
        <a:bodyPr/>
        <a:lstStyle/>
        <a:p>
          <a:endParaRPr lang="en-US"/>
        </a:p>
      </dgm:t>
    </dgm:pt>
    <dgm:pt modelId="{3840CB65-9C3B-445E-AD7D-386BC7CFD714}">
      <dgm:prSet/>
      <dgm:spPr/>
      <dgm:t>
        <a:bodyPr/>
        <a:lstStyle/>
        <a:p>
          <a:r>
            <a:rPr lang="en-US" dirty="0"/>
            <a:t>If the Publishing feature is not enabled on a site hosting a public origin, you can manually construct URLs to the CDN location of the assets and use these URLs in your content</a:t>
          </a:r>
        </a:p>
      </dgm:t>
    </dgm:pt>
    <dgm:pt modelId="{1C32E492-1E54-4279-B2AD-BB2C763C11A2}" type="parTrans" cxnId="{378C0D14-CDB7-4473-8E9C-AD3426ED379D}">
      <dgm:prSet/>
      <dgm:spPr/>
      <dgm:t>
        <a:bodyPr/>
        <a:lstStyle/>
        <a:p>
          <a:endParaRPr lang="en-US"/>
        </a:p>
      </dgm:t>
    </dgm:pt>
    <dgm:pt modelId="{5E1925EC-2712-42AA-8A84-66266B39CF69}" type="sibTrans" cxnId="{378C0D14-CDB7-4473-8E9C-AD3426ED379D}">
      <dgm:prSet/>
      <dgm:spPr/>
      <dgm:t>
        <a:bodyPr/>
        <a:lstStyle/>
        <a:p>
          <a:endParaRPr lang="en-US"/>
        </a:p>
      </dgm:t>
    </dgm:pt>
    <dgm:pt modelId="{95ED3562-6C77-4276-81C3-01EFC5FDF62C}">
      <dgm:prSet/>
      <dgm:spPr/>
      <dgm:t>
        <a:bodyPr/>
        <a:lstStyle/>
        <a:p>
          <a:r>
            <a:rPr lang="en-US"/>
            <a:t>https://publiccdn.sharepointonline.com/&lt;TenantHostName&gt;/sites/site/library/asset.png</a:t>
          </a:r>
        </a:p>
      </dgm:t>
    </dgm:pt>
    <dgm:pt modelId="{986C4F83-81B1-4BCC-8A94-6C1284BEC294}" type="parTrans" cxnId="{087C203D-2263-4C47-A600-32F1FD1A3E19}">
      <dgm:prSet/>
      <dgm:spPr/>
      <dgm:t>
        <a:bodyPr/>
        <a:lstStyle/>
        <a:p>
          <a:endParaRPr lang="en-US"/>
        </a:p>
      </dgm:t>
    </dgm:pt>
    <dgm:pt modelId="{C522AA1B-1F40-49A8-8BB5-CD23573ED305}" type="sibTrans" cxnId="{087C203D-2263-4C47-A600-32F1FD1A3E19}">
      <dgm:prSet/>
      <dgm:spPr/>
      <dgm:t>
        <a:bodyPr/>
        <a:lstStyle/>
        <a:p>
          <a:endParaRPr lang="en-US"/>
        </a:p>
      </dgm:t>
    </dgm:pt>
    <dgm:pt modelId="{8D1D3936-C012-42E2-972A-01C4F6464E8C}">
      <dgm:prSet/>
      <dgm:spPr/>
      <dgm:t>
        <a:bodyPr/>
        <a:lstStyle/>
        <a:p>
          <a:r>
            <a:rPr lang="en-US" dirty="0"/>
            <a:t>If you remove an asset from a public origin, the asset may continue to be available for up to 30 days from the cache; however, you will invalidate links to the asset in the CDN within 15 minutes</a:t>
          </a:r>
        </a:p>
      </dgm:t>
    </dgm:pt>
    <dgm:pt modelId="{8A204568-4BAE-451F-8C98-29A7CED3CF75}" type="parTrans" cxnId="{747AEE06-78A4-4C9A-B2CE-30D409670126}">
      <dgm:prSet/>
      <dgm:spPr/>
      <dgm:t>
        <a:bodyPr/>
        <a:lstStyle/>
        <a:p>
          <a:endParaRPr lang="en-US"/>
        </a:p>
      </dgm:t>
    </dgm:pt>
    <dgm:pt modelId="{E2CEF862-3858-4A08-A35F-9F9B4BA7DAD3}" type="sibTrans" cxnId="{747AEE06-78A4-4C9A-B2CE-30D409670126}">
      <dgm:prSet/>
      <dgm:spPr/>
      <dgm:t>
        <a:bodyPr/>
        <a:lstStyle/>
        <a:p>
          <a:endParaRPr lang="en-US"/>
        </a:p>
      </dgm:t>
    </dgm:pt>
    <dgm:pt modelId="{7600C7DB-52A5-4D1A-AFCD-171AFDF7FFA0}" type="pres">
      <dgm:prSet presAssocID="{E52057FC-C393-4C61-AEE3-693722D3E730}" presName="vert0" presStyleCnt="0">
        <dgm:presLayoutVars>
          <dgm:dir/>
          <dgm:animOne val="branch"/>
          <dgm:animLvl val="lvl"/>
        </dgm:presLayoutVars>
      </dgm:prSet>
      <dgm:spPr/>
    </dgm:pt>
    <dgm:pt modelId="{7EC11ACC-AAFA-4FAF-BEB7-DAFE4C46EBA9}" type="pres">
      <dgm:prSet presAssocID="{46C6CA2F-AA09-4953-A93F-E96D3EC06F97}" presName="thickLine" presStyleLbl="alignNode1" presStyleIdx="0" presStyleCnt="3"/>
      <dgm:spPr/>
    </dgm:pt>
    <dgm:pt modelId="{6F0F1AA3-1A50-43B3-A7C5-8456F92CC0E6}" type="pres">
      <dgm:prSet presAssocID="{46C6CA2F-AA09-4953-A93F-E96D3EC06F97}" presName="horz1" presStyleCnt="0"/>
      <dgm:spPr/>
    </dgm:pt>
    <dgm:pt modelId="{4D85C91B-63D4-4FD0-90D4-D370DD7C6F5D}" type="pres">
      <dgm:prSet presAssocID="{46C6CA2F-AA09-4953-A93F-E96D3EC06F97}" presName="tx1" presStyleLbl="revTx" presStyleIdx="0" presStyleCnt="7" custScaleX="233417"/>
      <dgm:spPr/>
    </dgm:pt>
    <dgm:pt modelId="{688D5614-7C93-40E0-84A4-2D1D5D377261}" type="pres">
      <dgm:prSet presAssocID="{46C6CA2F-AA09-4953-A93F-E96D3EC06F97}" presName="vert1" presStyleCnt="0"/>
      <dgm:spPr/>
    </dgm:pt>
    <dgm:pt modelId="{9667FAD2-4A9F-42BA-9B13-8E97DC2D17CB}" type="pres">
      <dgm:prSet presAssocID="{EA5F7C14-0DB0-4BAF-B19A-ADCDD3D676AB}" presName="vertSpace2a" presStyleCnt="0"/>
      <dgm:spPr/>
    </dgm:pt>
    <dgm:pt modelId="{FB71C5EC-9DFE-4355-BA04-67CF1FEB9AEE}" type="pres">
      <dgm:prSet presAssocID="{EA5F7C14-0DB0-4BAF-B19A-ADCDD3D676AB}" presName="horz2" presStyleCnt="0"/>
      <dgm:spPr/>
    </dgm:pt>
    <dgm:pt modelId="{EDA2D9E3-B5B1-478C-97CA-A79CA1391966}" type="pres">
      <dgm:prSet presAssocID="{EA5F7C14-0DB0-4BAF-B19A-ADCDD3D676AB}" presName="horzSpace2" presStyleCnt="0"/>
      <dgm:spPr/>
    </dgm:pt>
    <dgm:pt modelId="{A3ACE9BC-47DE-4DE5-BC8B-20A19C9CAF78}" type="pres">
      <dgm:prSet presAssocID="{EA5F7C14-0DB0-4BAF-B19A-ADCDD3D676AB}" presName="tx2" presStyleLbl="revTx" presStyleIdx="1" presStyleCnt="7"/>
      <dgm:spPr/>
    </dgm:pt>
    <dgm:pt modelId="{17BFA5F6-D924-460F-9BC9-E3861A26D696}" type="pres">
      <dgm:prSet presAssocID="{EA5F7C14-0DB0-4BAF-B19A-ADCDD3D676AB}" presName="vert2" presStyleCnt="0"/>
      <dgm:spPr/>
    </dgm:pt>
    <dgm:pt modelId="{9A145777-C440-45CA-84E6-87DD4E66C3C6}" type="pres">
      <dgm:prSet presAssocID="{EA5F7C14-0DB0-4BAF-B19A-ADCDD3D676AB}" presName="thinLine2b" presStyleLbl="callout" presStyleIdx="0" presStyleCnt="4"/>
      <dgm:spPr/>
    </dgm:pt>
    <dgm:pt modelId="{E0CD5D0B-BB60-4FAF-9CF9-7C71FC72AD74}" type="pres">
      <dgm:prSet presAssocID="{EA5F7C14-0DB0-4BAF-B19A-ADCDD3D676AB}" presName="vertSpace2b" presStyleCnt="0"/>
      <dgm:spPr/>
    </dgm:pt>
    <dgm:pt modelId="{15E74CA3-1E96-40D1-8B66-577B0B24F868}" type="pres">
      <dgm:prSet presAssocID="{F746A882-3A53-446C-A8D4-4A8B9F9956F2}" presName="horz2" presStyleCnt="0"/>
      <dgm:spPr/>
    </dgm:pt>
    <dgm:pt modelId="{05872AA4-8382-4F9C-87C4-71C9545B74D6}" type="pres">
      <dgm:prSet presAssocID="{F746A882-3A53-446C-A8D4-4A8B9F9956F2}" presName="horzSpace2" presStyleCnt="0"/>
      <dgm:spPr/>
    </dgm:pt>
    <dgm:pt modelId="{D95391EE-D970-47B6-A326-DE5352465169}" type="pres">
      <dgm:prSet presAssocID="{F746A882-3A53-446C-A8D4-4A8B9F9956F2}" presName="tx2" presStyleLbl="revTx" presStyleIdx="2" presStyleCnt="7"/>
      <dgm:spPr/>
    </dgm:pt>
    <dgm:pt modelId="{4CE886DA-92BC-41EF-9489-8D6629CE6450}" type="pres">
      <dgm:prSet presAssocID="{F746A882-3A53-446C-A8D4-4A8B9F9956F2}" presName="vert2" presStyleCnt="0"/>
      <dgm:spPr/>
    </dgm:pt>
    <dgm:pt modelId="{5ED6B62A-C8A7-4D41-A635-99C4E3BD4E9B}" type="pres">
      <dgm:prSet presAssocID="{F746A882-3A53-446C-A8D4-4A8B9F9956F2}" presName="thinLine2b" presStyleLbl="callout" presStyleIdx="1" presStyleCnt="4"/>
      <dgm:spPr/>
    </dgm:pt>
    <dgm:pt modelId="{E4909711-B5D5-44A1-8C17-A6DC4DECF8E3}" type="pres">
      <dgm:prSet presAssocID="{F746A882-3A53-446C-A8D4-4A8B9F9956F2}" presName="vertSpace2b" presStyleCnt="0"/>
      <dgm:spPr/>
    </dgm:pt>
    <dgm:pt modelId="{17FF5D2B-3EBC-47EC-A185-6F3EDD77E540}" type="pres">
      <dgm:prSet presAssocID="{7A482F32-FCDB-49F0-A3F0-59E5BEB4D9F4}" presName="horz2" presStyleCnt="0"/>
      <dgm:spPr/>
    </dgm:pt>
    <dgm:pt modelId="{9F30FB78-02F6-4FDE-B944-4AA0E59F0163}" type="pres">
      <dgm:prSet presAssocID="{7A482F32-FCDB-49F0-A3F0-59E5BEB4D9F4}" presName="horzSpace2" presStyleCnt="0"/>
      <dgm:spPr/>
    </dgm:pt>
    <dgm:pt modelId="{098F1AB4-2D5A-429A-82FB-2A809C7EA06B}" type="pres">
      <dgm:prSet presAssocID="{7A482F32-FCDB-49F0-A3F0-59E5BEB4D9F4}" presName="tx2" presStyleLbl="revTx" presStyleIdx="3" presStyleCnt="7"/>
      <dgm:spPr/>
    </dgm:pt>
    <dgm:pt modelId="{D21FFFDF-3F41-4500-9F23-D4704F74FD3C}" type="pres">
      <dgm:prSet presAssocID="{7A482F32-FCDB-49F0-A3F0-59E5BEB4D9F4}" presName="vert2" presStyleCnt="0"/>
      <dgm:spPr/>
    </dgm:pt>
    <dgm:pt modelId="{A795CBFD-3725-4611-BE74-287874536C5E}" type="pres">
      <dgm:prSet presAssocID="{7A482F32-FCDB-49F0-A3F0-59E5BEB4D9F4}" presName="thinLine2b" presStyleLbl="callout" presStyleIdx="2" presStyleCnt="4"/>
      <dgm:spPr/>
    </dgm:pt>
    <dgm:pt modelId="{F31F3D5E-9FE3-49FE-981C-AEF15438356F}" type="pres">
      <dgm:prSet presAssocID="{7A482F32-FCDB-49F0-A3F0-59E5BEB4D9F4}" presName="vertSpace2b" presStyleCnt="0"/>
      <dgm:spPr/>
    </dgm:pt>
    <dgm:pt modelId="{A836EE1D-5C17-4F2F-B642-E7E60371B18D}" type="pres">
      <dgm:prSet presAssocID="{3840CB65-9C3B-445E-AD7D-386BC7CFD714}" presName="thickLine" presStyleLbl="alignNode1" presStyleIdx="1" presStyleCnt="3"/>
      <dgm:spPr/>
    </dgm:pt>
    <dgm:pt modelId="{9EEDFC6F-0570-4FC2-B98F-A7568789812B}" type="pres">
      <dgm:prSet presAssocID="{3840CB65-9C3B-445E-AD7D-386BC7CFD714}" presName="horz1" presStyleCnt="0"/>
      <dgm:spPr/>
    </dgm:pt>
    <dgm:pt modelId="{3F3AB76B-6BE0-43D0-BE6C-5AB10C1A91C0}" type="pres">
      <dgm:prSet presAssocID="{3840CB65-9C3B-445E-AD7D-386BC7CFD714}" presName="tx1" presStyleLbl="revTx" presStyleIdx="4" presStyleCnt="7" custScaleX="233417"/>
      <dgm:spPr/>
    </dgm:pt>
    <dgm:pt modelId="{94EC8B8D-9A54-4B91-9CAE-73DA5E93C17C}" type="pres">
      <dgm:prSet presAssocID="{3840CB65-9C3B-445E-AD7D-386BC7CFD714}" presName="vert1" presStyleCnt="0"/>
      <dgm:spPr/>
    </dgm:pt>
    <dgm:pt modelId="{C5025E67-4295-4B28-A200-BB8DC03751ED}" type="pres">
      <dgm:prSet presAssocID="{95ED3562-6C77-4276-81C3-01EFC5FDF62C}" presName="vertSpace2a" presStyleCnt="0"/>
      <dgm:spPr/>
    </dgm:pt>
    <dgm:pt modelId="{AB91CB9B-EE80-42DE-8F97-54651B36821C}" type="pres">
      <dgm:prSet presAssocID="{95ED3562-6C77-4276-81C3-01EFC5FDF62C}" presName="horz2" presStyleCnt="0"/>
      <dgm:spPr/>
    </dgm:pt>
    <dgm:pt modelId="{AAC083F1-AA28-48BB-AFF4-948D512C113E}" type="pres">
      <dgm:prSet presAssocID="{95ED3562-6C77-4276-81C3-01EFC5FDF62C}" presName="horzSpace2" presStyleCnt="0"/>
      <dgm:spPr/>
    </dgm:pt>
    <dgm:pt modelId="{E493B1E0-F789-4042-8417-3757E2ED2D41}" type="pres">
      <dgm:prSet presAssocID="{95ED3562-6C77-4276-81C3-01EFC5FDF62C}" presName="tx2" presStyleLbl="revTx" presStyleIdx="5" presStyleCnt="7"/>
      <dgm:spPr/>
    </dgm:pt>
    <dgm:pt modelId="{99FB92EF-68E9-4473-95C1-99BB2DDBE5DD}" type="pres">
      <dgm:prSet presAssocID="{95ED3562-6C77-4276-81C3-01EFC5FDF62C}" presName="vert2" presStyleCnt="0"/>
      <dgm:spPr/>
    </dgm:pt>
    <dgm:pt modelId="{FD80EF98-3A11-434C-985D-CA87AD9353C6}" type="pres">
      <dgm:prSet presAssocID="{95ED3562-6C77-4276-81C3-01EFC5FDF62C}" presName="thinLine2b" presStyleLbl="callout" presStyleIdx="3" presStyleCnt="4"/>
      <dgm:spPr/>
    </dgm:pt>
    <dgm:pt modelId="{5D9E4C5C-676C-4CDB-82A0-FFECAA2533BE}" type="pres">
      <dgm:prSet presAssocID="{95ED3562-6C77-4276-81C3-01EFC5FDF62C}" presName="vertSpace2b" presStyleCnt="0"/>
      <dgm:spPr/>
    </dgm:pt>
    <dgm:pt modelId="{F1D82BF2-6239-4EEF-BE9E-0C3A1D33A038}" type="pres">
      <dgm:prSet presAssocID="{8D1D3936-C012-42E2-972A-01C4F6464E8C}" presName="thickLine" presStyleLbl="alignNode1" presStyleIdx="2" presStyleCnt="3"/>
      <dgm:spPr/>
    </dgm:pt>
    <dgm:pt modelId="{CC87FCA0-374A-4925-AD5C-C6FAB257E109}" type="pres">
      <dgm:prSet presAssocID="{8D1D3936-C012-42E2-972A-01C4F6464E8C}" presName="horz1" presStyleCnt="0"/>
      <dgm:spPr/>
    </dgm:pt>
    <dgm:pt modelId="{CDE2E4A9-4A3B-4B10-A412-F4AB6DA8B977}" type="pres">
      <dgm:prSet presAssocID="{8D1D3936-C012-42E2-972A-01C4F6464E8C}" presName="tx1" presStyleLbl="revTx" presStyleIdx="6" presStyleCnt="7" custScaleX="189343"/>
      <dgm:spPr/>
    </dgm:pt>
    <dgm:pt modelId="{8EB0A993-6E3A-4641-8781-A2A0E1AE3A62}" type="pres">
      <dgm:prSet presAssocID="{8D1D3936-C012-42E2-972A-01C4F6464E8C}" presName="vert1" presStyleCnt="0"/>
      <dgm:spPr/>
    </dgm:pt>
  </dgm:ptLst>
  <dgm:cxnLst>
    <dgm:cxn modelId="{747AEE06-78A4-4C9A-B2CE-30D409670126}" srcId="{E52057FC-C393-4C61-AEE3-693722D3E730}" destId="{8D1D3936-C012-42E2-972A-01C4F6464E8C}" srcOrd="2" destOrd="0" parTransId="{8A204568-4BAE-451F-8C98-29A7CED3CF75}" sibTransId="{E2CEF862-3858-4A08-A35F-9F9B4BA7DAD3}"/>
    <dgm:cxn modelId="{17B22212-317E-4191-A80B-3A7F4FE6B76E}" type="presOf" srcId="{46C6CA2F-AA09-4953-A93F-E96D3EC06F97}" destId="{4D85C91B-63D4-4FD0-90D4-D370DD7C6F5D}" srcOrd="0" destOrd="0" presId="urn:microsoft.com/office/officeart/2008/layout/LinedList"/>
    <dgm:cxn modelId="{378C0D14-CDB7-4473-8E9C-AD3426ED379D}" srcId="{E52057FC-C393-4C61-AEE3-693722D3E730}" destId="{3840CB65-9C3B-445E-AD7D-386BC7CFD714}" srcOrd="1" destOrd="0" parTransId="{1C32E492-1E54-4279-B2AD-BB2C763C11A2}" sibTransId="{5E1925EC-2712-42AA-8A84-66266B39CF69}"/>
    <dgm:cxn modelId="{FBA2E11E-06C7-47A0-9E64-E2DD6C82D604}" type="presOf" srcId="{E52057FC-C393-4C61-AEE3-693722D3E730}" destId="{7600C7DB-52A5-4D1A-AFCD-171AFDF7FFA0}" srcOrd="0" destOrd="0" presId="urn:microsoft.com/office/officeart/2008/layout/LinedList"/>
    <dgm:cxn modelId="{E41F0739-4300-44B2-A502-72D75897985B}" type="presOf" srcId="{3840CB65-9C3B-445E-AD7D-386BC7CFD714}" destId="{3F3AB76B-6BE0-43D0-BE6C-5AB10C1A91C0}" srcOrd="0" destOrd="0" presId="urn:microsoft.com/office/officeart/2008/layout/LinedList"/>
    <dgm:cxn modelId="{087C203D-2263-4C47-A600-32F1FD1A3E19}" srcId="{3840CB65-9C3B-445E-AD7D-386BC7CFD714}" destId="{95ED3562-6C77-4276-81C3-01EFC5FDF62C}" srcOrd="0" destOrd="0" parTransId="{986C4F83-81B1-4BCC-8A94-6C1284BEC294}" sibTransId="{C522AA1B-1F40-49A8-8BB5-CD23573ED305}"/>
    <dgm:cxn modelId="{FBF6975F-57BC-43D8-800C-4F023C635B22}" srcId="{E52057FC-C393-4C61-AEE3-693722D3E730}" destId="{46C6CA2F-AA09-4953-A93F-E96D3EC06F97}" srcOrd="0" destOrd="0" parTransId="{25871D37-5FC6-42A2-BD0E-37A3DBC33D99}" sibTransId="{E31FC04E-3709-4B01-8E17-64FBE0AB7374}"/>
    <dgm:cxn modelId="{26BA8B68-5C80-43DA-98C4-AA70E11BED3E}" srcId="{46C6CA2F-AA09-4953-A93F-E96D3EC06F97}" destId="{7A482F32-FCDB-49F0-A3F0-59E5BEB4D9F4}" srcOrd="2" destOrd="0" parTransId="{3F5ADE3E-7848-425E-9243-DAC3AB6D2A5D}" sibTransId="{1E178301-EF31-4F78-B086-50D033D808DB}"/>
    <dgm:cxn modelId="{CCDD2E72-F53A-4336-9C24-A95772439574}" srcId="{46C6CA2F-AA09-4953-A93F-E96D3EC06F97}" destId="{EA5F7C14-0DB0-4BAF-B19A-ADCDD3D676AB}" srcOrd="0" destOrd="0" parTransId="{C7711969-49D3-4573-B0C3-810F91CE0A9C}" sibTransId="{0BC3A8D2-8341-4AFB-85DC-006EF3961282}"/>
    <dgm:cxn modelId="{F96AA176-63AE-47CC-BAA8-CC6D968869A4}" type="presOf" srcId="{95ED3562-6C77-4276-81C3-01EFC5FDF62C}" destId="{E493B1E0-F789-4042-8417-3757E2ED2D41}" srcOrd="0" destOrd="0" presId="urn:microsoft.com/office/officeart/2008/layout/LinedList"/>
    <dgm:cxn modelId="{3EA5F788-52C5-430B-B3B8-ACB368BEF7D4}" type="presOf" srcId="{F746A882-3A53-446C-A8D4-4A8B9F9956F2}" destId="{D95391EE-D970-47B6-A326-DE5352465169}" srcOrd="0" destOrd="0" presId="urn:microsoft.com/office/officeart/2008/layout/LinedList"/>
    <dgm:cxn modelId="{D92E0B95-C9A4-4F7A-A6D8-ED966F3B4AB1}" type="presOf" srcId="{EA5F7C14-0DB0-4BAF-B19A-ADCDD3D676AB}" destId="{A3ACE9BC-47DE-4DE5-BC8B-20A19C9CAF78}" srcOrd="0" destOrd="0" presId="urn:microsoft.com/office/officeart/2008/layout/LinedList"/>
    <dgm:cxn modelId="{968DF99E-0808-4A83-95D8-1DFEEDD98B68}" type="presOf" srcId="{8D1D3936-C012-42E2-972A-01C4F6464E8C}" destId="{CDE2E4A9-4A3B-4B10-A412-F4AB6DA8B977}" srcOrd="0" destOrd="0" presId="urn:microsoft.com/office/officeart/2008/layout/LinedList"/>
    <dgm:cxn modelId="{0D3025BC-561F-403A-804B-9174E14E6096}" srcId="{46C6CA2F-AA09-4953-A93F-E96D3EC06F97}" destId="{F746A882-3A53-446C-A8D4-4A8B9F9956F2}" srcOrd="1" destOrd="0" parTransId="{DB4F278B-941C-40F8-9583-3CF7888E842B}" sibTransId="{5CB7E74A-EBB4-41AD-8E20-7B3E7F15C204}"/>
    <dgm:cxn modelId="{F70F76FA-8327-480E-8241-414C9D0EB486}" type="presOf" srcId="{7A482F32-FCDB-49F0-A3F0-59E5BEB4D9F4}" destId="{098F1AB4-2D5A-429A-82FB-2A809C7EA06B}" srcOrd="0" destOrd="0" presId="urn:microsoft.com/office/officeart/2008/layout/LinedList"/>
    <dgm:cxn modelId="{081CE0C1-2200-48D1-911C-0C2D429681BD}" type="presParOf" srcId="{7600C7DB-52A5-4D1A-AFCD-171AFDF7FFA0}" destId="{7EC11ACC-AAFA-4FAF-BEB7-DAFE4C46EBA9}" srcOrd="0" destOrd="0" presId="urn:microsoft.com/office/officeart/2008/layout/LinedList"/>
    <dgm:cxn modelId="{00B0321F-486C-4D4B-B6AA-EABD4750033E}" type="presParOf" srcId="{7600C7DB-52A5-4D1A-AFCD-171AFDF7FFA0}" destId="{6F0F1AA3-1A50-43B3-A7C5-8456F92CC0E6}" srcOrd="1" destOrd="0" presId="urn:microsoft.com/office/officeart/2008/layout/LinedList"/>
    <dgm:cxn modelId="{06BEFE39-FCBE-4BF7-BA0B-4D631A12B0DB}" type="presParOf" srcId="{6F0F1AA3-1A50-43B3-A7C5-8456F92CC0E6}" destId="{4D85C91B-63D4-4FD0-90D4-D370DD7C6F5D}" srcOrd="0" destOrd="0" presId="urn:microsoft.com/office/officeart/2008/layout/LinedList"/>
    <dgm:cxn modelId="{62C5D8FA-75AF-429D-9F0B-C4C3C7BED4A1}" type="presParOf" srcId="{6F0F1AA3-1A50-43B3-A7C5-8456F92CC0E6}" destId="{688D5614-7C93-40E0-84A4-2D1D5D377261}" srcOrd="1" destOrd="0" presId="urn:microsoft.com/office/officeart/2008/layout/LinedList"/>
    <dgm:cxn modelId="{588C2795-9E48-4F9B-A445-60C9E421C22B}" type="presParOf" srcId="{688D5614-7C93-40E0-84A4-2D1D5D377261}" destId="{9667FAD2-4A9F-42BA-9B13-8E97DC2D17CB}" srcOrd="0" destOrd="0" presId="urn:microsoft.com/office/officeart/2008/layout/LinedList"/>
    <dgm:cxn modelId="{A31E570C-64A2-48F8-8A48-0797BAD249B6}" type="presParOf" srcId="{688D5614-7C93-40E0-84A4-2D1D5D377261}" destId="{FB71C5EC-9DFE-4355-BA04-67CF1FEB9AEE}" srcOrd="1" destOrd="0" presId="urn:microsoft.com/office/officeart/2008/layout/LinedList"/>
    <dgm:cxn modelId="{ADF58F40-98B0-4604-AED8-9F6C600836AA}" type="presParOf" srcId="{FB71C5EC-9DFE-4355-BA04-67CF1FEB9AEE}" destId="{EDA2D9E3-B5B1-478C-97CA-A79CA1391966}" srcOrd="0" destOrd="0" presId="urn:microsoft.com/office/officeart/2008/layout/LinedList"/>
    <dgm:cxn modelId="{2870D59B-E08B-4DB4-BAA0-CD7B2B20823C}" type="presParOf" srcId="{FB71C5EC-9DFE-4355-BA04-67CF1FEB9AEE}" destId="{A3ACE9BC-47DE-4DE5-BC8B-20A19C9CAF78}" srcOrd="1" destOrd="0" presId="urn:microsoft.com/office/officeart/2008/layout/LinedList"/>
    <dgm:cxn modelId="{80FFC168-CC22-4807-8597-010CA5F7D9C1}" type="presParOf" srcId="{FB71C5EC-9DFE-4355-BA04-67CF1FEB9AEE}" destId="{17BFA5F6-D924-460F-9BC9-E3861A26D696}" srcOrd="2" destOrd="0" presId="urn:microsoft.com/office/officeart/2008/layout/LinedList"/>
    <dgm:cxn modelId="{6B4B9085-AA06-4B3D-8041-3FB1C3CD8C6D}" type="presParOf" srcId="{688D5614-7C93-40E0-84A4-2D1D5D377261}" destId="{9A145777-C440-45CA-84E6-87DD4E66C3C6}" srcOrd="2" destOrd="0" presId="urn:microsoft.com/office/officeart/2008/layout/LinedList"/>
    <dgm:cxn modelId="{4F5087AD-4056-4314-8C3A-B19310185ECE}" type="presParOf" srcId="{688D5614-7C93-40E0-84A4-2D1D5D377261}" destId="{E0CD5D0B-BB60-4FAF-9CF9-7C71FC72AD74}" srcOrd="3" destOrd="0" presId="urn:microsoft.com/office/officeart/2008/layout/LinedList"/>
    <dgm:cxn modelId="{DF73D7C1-5BC2-46DB-B7A1-EA1457C54E3F}" type="presParOf" srcId="{688D5614-7C93-40E0-84A4-2D1D5D377261}" destId="{15E74CA3-1E96-40D1-8B66-577B0B24F868}" srcOrd="4" destOrd="0" presId="urn:microsoft.com/office/officeart/2008/layout/LinedList"/>
    <dgm:cxn modelId="{E8775D93-717C-40F8-91AF-0F429EFDE66D}" type="presParOf" srcId="{15E74CA3-1E96-40D1-8B66-577B0B24F868}" destId="{05872AA4-8382-4F9C-87C4-71C9545B74D6}" srcOrd="0" destOrd="0" presId="urn:microsoft.com/office/officeart/2008/layout/LinedList"/>
    <dgm:cxn modelId="{CC59E474-FA0C-4AB5-A0E7-4C79810E8FEB}" type="presParOf" srcId="{15E74CA3-1E96-40D1-8B66-577B0B24F868}" destId="{D95391EE-D970-47B6-A326-DE5352465169}" srcOrd="1" destOrd="0" presId="urn:microsoft.com/office/officeart/2008/layout/LinedList"/>
    <dgm:cxn modelId="{EAB29BE4-6FA0-4E97-9B8D-442929DFB6FB}" type="presParOf" srcId="{15E74CA3-1E96-40D1-8B66-577B0B24F868}" destId="{4CE886DA-92BC-41EF-9489-8D6629CE6450}" srcOrd="2" destOrd="0" presId="urn:microsoft.com/office/officeart/2008/layout/LinedList"/>
    <dgm:cxn modelId="{1C6557D2-E509-4D00-803A-8ACDF02BAE3D}" type="presParOf" srcId="{688D5614-7C93-40E0-84A4-2D1D5D377261}" destId="{5ED6B62A-C8A7-4D41-A635-99C4E3BD4E9B}" srcOrd="5" destOrd="0" presId="urn:microsoft.com/office/officeart/2008/layout/LinedList"/>
    <dgm:cxn modelId="{1C12D9A3-7729-45D6-999F-A889674599A2}" type="presParOf" srcId="{688D5614-7C93-40E0-84A4-2D1D5D377261}" destId="{E4909711-B5D5-44A1-8C17-A6DC4DECF8E3}" srcOrd="6" destOrd="0" presId="urn:microsoft.com/office/officeart/2008/layout/LinedList"/>
    <dgm:cxn modelId="{F5C3CB0A-3E89-4E91-BD10-1FC781BCD637}" type="presParOf" srcId="{688D5614-7C93-40E0-84A4-2D1D5D377261}" destId="{17FF5D2B-3EBC-47EC-A185-6F3EDD77E540}" srcOrd="7" destOrd="0" presId="urn:microsoft.com/office/officeart/2008/layout/LinedList"/>
    <dgm:cxn modelId="{6A01D7CD-86D9-451F-B4C4-3F8F1293137C}" type="presParOf" srcId="{17FF5D2B-3EBC-47EC-A185-6F3EDD77E540}" destId="{9F30FB78-02F6-4FDE-B944-4AA0E59F0163}" srcOrd="0" destOrd="0" presId="urn:microsoft.com/office/officeart/2008/layout/LinedList"/>
    <dgm:cxn modelId="{9A8EB0C6-A31B-4122-80FC-DE1E14BB0DBD}" type="presParOf" srcId="{17FF5D2B-3EBC-47EC-A185-6F3EDD77E540}" destId="{098F1AB4-2D5A-429A-82FB-2A809C7EA06B}" srcOrd="1" destOrd="0" presId="urn:microsoft.com/office/officeart/2008/layout/LinedList"/>
    <dgm:cxn modelId="{BED1EDEA-481D-4DC8-924B-15BE0EFFF0CB}" type="presParOf" srcId="{17FF5D2B-3EBC-47EC-A185-6F3EDD77E540}" destId="{D21FFFDF-3F41-4500-9F23-D4704F74FD3C}" srcOrd="2" destOrd="0" presId="urn:microsoft.com/office/officeart/2008/layout/LinedList"/>
    <dgm:cxn modelId="{67CD837B-5A8A-4621-9ABB-B796B02E3372}" type="presParOf" srcId="{688D5614-7C93-40E0-84A4-2D1D5D377261}" destId="{A795CBFD-3725-4611-BE74-287874536C5E}" srcOrd="8" destOrd="0" presId="urn:microsoft.com/office/officeart/2008/layout/LinedList"/>
    <dgm:cxn modelId="{BAC5F869-1D3F-44C1-BF5A-8E848FB343C9}" type="presParOf" srcId="{688D5614-7C93-40E0-84A4-2D1D5D377261}" destId="{F31F3D5E-9FE3-49FE-981C-AEF15438356F}" srcOrd="9" destOrd="0" presId="urn:microsoft.com/office/officeart/2008/layout/LinedList"/>
    <dgm:cxn modelId="{C2DA4629-A754-47A6-8E19-A05942144ACD}" type="presParOf" srcId="{7600C7DB-52A5-4D1A-AFCD-171AFDF7FFA0}" destId="{A836EE1D-5C17-4F2F-B642-E7E60371B18D}" srcOrd="2" destOrd="0" presId="urn:microsoft.com/office/officeart/2008/layout/LinedList"/>
    <dgm:cxn modelId="{329D4E2C-EC33-4A29-920B-597A1657A6DC}" type="presParOf" srcId="{7600C7DB-52A5-4D1A-AFCD-171AFDF7FFA0}" destId="{9EEDFC6F-0570-4FC2-B98F-A7568789812B}" srcOrd="3" destOrd="0" presId="urn:microsoft.com/office/officeart/2008/layout/LinedList"/>
    <dgm:cxn modelId="{FD340777-EF75-4CD6-B337-AF725E5B90B1}" type="presParOf" srcId="{9EEDFC6F-0570-4FC2-B98F-A7568789812B}" destId="{3F3AB76B-6BE0-43D0-BE6C-5AB10C1A91C0}" srcOrd="0" destOrd="0" presId="urn:microsoft.com/office/officeart/2008/layout/LinedList"/>
    <dgm:cxn modelId="{DE48C984-DA2B-438B-AE4A-2EDF455567A4}" type="presParOf" srcId="{9EEDFC6F-0570-4FC2-B98F-A7568789812B}" destId="{94EC8B8D-9A54-4B91-9CAE-73DA5E93C17C}" srcOrd="1" destOrd="0" presId="urn:microsoft.com/office/officeart/2008/layout/LinedList"/>
    <dgm:cxn modelId="{D8069274-4045-42FD-9CF4-858C04DD948B}" type="presParOf" srcId="{94EC8B8D-9A54-4B91-9CAE-73DA5E93C17C}" destId="{C5025E67-4295-4B28-A200-BB8DC03751ED}" srcOrd="0" destOrd="0" presId="urn:microsoft.com/office/officeart/2008/layout/LinedList"/>
    <dgm:cxn modelId="{544DC1D8-8A02-4F0E-B400-7B3B6ECCAD1C}" type="presParOf" srcId="{94EC8B8D-9A54-4B91-9CAE-73DA5E93C17C}" destId="{AB91CB9B-EE80-42DE-8F97-54651B36821C}" srcOrd="1" destOrd="0" presId="urn:microsoft.com/office/officeart/2008/layout/LinedList"/>
    <dgm:cxn modelId="{48E2ED78-D404-4D02-813E-2A3888BBC8F3}" type="presParOf" srcId="{AB91CB9B-EE80-42DE-8F97-54651B36821C}" destId="{AAC083F1-AA28-48BB-AFF4-948D512C113E}" srcOrd="0" destOrd="0" presId="urn:microsoft.com/office/officeart/2008/layout/LinedList"/>
    <dgm:cxn modelId="{61FF0219-5C77-43DF-A933-4CFD84A38C9B}" type="presParOf" srcId="{AB91CB9B-EE80-42DE-8F97-54651B36821C}" destId="{E493B1E0-F789-4042-8417-3757E2ED2D41}" srcOrd="1" destOrd="0" presId="urn:microsoft.com/office/officeart/2008/layout/LinedList"/>
    <dgm:cxn modelId="{9AB3FB7B-1726-41C0-A2FE-3072F77450F1}" type="presParOf" srcId="{AB91CB9B-EE80-42DE-8F97-54651B36821C}" destId="{99FB92EF-68E9-4473-95C1-99BB2DDBE5DD}" srcOrd="2" destOrd="0" presId="urn:microsoft.com/office/officeart/2008/layout/LinedList"/>
    <dgm:cxn modelId="{81FFEFD8-DFA4-46BD-B31B-CA5B9E25AF90}" type="presParOf" srcId="{94EC8B8D-9A54-4B91-9CAE-73DA5E93C17C}" destId="{FD80EF98-3A11-434C-985D-CA87AD9353C6}" srcOrd="2" destOrd="0" presId="urn:microsoft.com/office/officeart/2008/layout/LinedList"/>
    <dgm:cxn modelId="{F6A6FB87-6652-4FEE-8611-9D9B028B19C9}" type="presParOf" srcId="{94EC8B8D-9A54-4B91-9CAE-73DA5E93C17C}" destId="{5D9E4C5C-676C-4CDB-82A0-FFECAA2533BE}" srcOrd="3" destOrd="0" presId="urn:microsoft.com/office/officeart/2008/layout/LinedList"/>
    <dgm:cxn modelId="{876ED5E9-E307-43AA-B607-DE87C2D66E72}" type="presParOf" srcId="{7600C7DB-52A5-4D1A-AFCD-171AFDF7FFA0}" destId="{F1D82BF2-6239-4EEF-BE9E-0C3A1D33A038}" srcOrd="4" destOrd="0" presId="urn:microsoft.com/office/officeart/2008/layout/LinedList"/>
    <dgm:cxn modelId="{33AF477B-2163-4A76-9C0B-160CA77D1F84}" type="presParOf" srcId="{7600C7DB-52A5-4D1A-AFCD-171AFDF7FFA0}" destId="{CC87FCA0-374A-4925-AD5C-C6FAB257E109}" srcOrd="5" destOrd="0" presId="urn:microsoft.com/office/officeart/2008/layout/LinedList"/>
    <dgm:cxn modelId="{5EC6E8A4-2618-43FC-AAFF-A62C4F65F84A}" type="presParOf" srcId="{CC87FCA0-374A-4925-AD5C-C6FAB257E109}" destId="{CDE2E4A9-4A3B-4B10-A412-F4AB6DA8B977}" srcOrd="0" destOrd="0" presId="urn:microsoft.com/office/officeart/2008/layout/LinedList"/>
    <dgm:cxn modelId="{C80352DB-25C5-4162-8CCC-92F50F2A35F8}" type="presParOf" srcId="{CC87FCA0-374A-4925-AD5C-C6FAB257E109}" destId="{8EB0A993-6E3A-4641-8781-A2A0E1AE3A6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97E3D7-9B7E-4C4A-A458-1281EAE8F3FB}"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21C5511E-D5E2-4766-9F89-ABA09753C2AB}">
      <dgm:prSet/>
      <dgm:spPr/>
      <dgm:t>
        <a:bodyPr/>
        <a:lstStyle/>
        <a:p>
          <a:r>
            <a:rPr lang="en-US" dirty="0"/>
            <a:t>Set-</a:t>
          </a:r>
          <a:r>
            <a:rPr lang="en-US" dirty="0" err="1"/>
            <a:t>SPOTenantCdnEnabled</a:t>
          </a:r>
          <a:r>
            <a:rPr lang="en-US" dirty="0"/>
            <a:t> -</a:t>
          </a:r>
          <a:r>
            <a:rPr lang="en-US" dirty="0" err="1"/>
            <a:t>CdnType</a:t>
          </a:r>
          <a:r>
            <a:rPr lang="en-US" dirty="0"/>
            <a:t> &lt;Public | Private | Both&gt; -Enable $true</a:t>
          </a:r>
          <a:endParaRPr lang="nb-NO" dirty="0"/>
        </a:p>
      </dgm:t>
    </dgm:pt>
    <dgm:pt modelId="{5F16B0A4-A26E-4EC4-8B24-FB5DC74EEA42}" type="parTrans" cxnId="{84E0F825-1FDD-4A4B-BF38-FFC8CA9AD745}">
      <dgm:prSet/>
      <dgm:spPr/>
      <dgm:t>
        <a:bodyPr/>
        <a:lstStyle/>
        <a:p>
          <a:endParaRPr lang="en-US"/>
        </a:p>
      </dgm:t>
    </dgm:pt>
    <dgm:pt modelId="{1D8743A2-7C15-45FE-9E74-732A024D160F}" type="sibTrans" cxnId="{84E0F825-1FDD-4A4B-BF38-FFC8CA9AD745}">
      <dgm:prSet/>
      <dgm:spPr/>
      <dgm:t>
        <a:bodyPr/>
        <a:lstStyle/>
        <a:p>
          <a:endParaRPr lang="en-US"/>
        </a:p>
      </dgm:t>
    </dgm:pt>
    <dgm:pt modelId="{2950DD13-CD2A-4C9C-86D3-01F68A7225BB}">
      <dgm:prSet/>
      <dgm:spPr/>
      <dgm:t>
        <a:bodyPr/>
        <a:lstStyle/>
        <a:p>
          <a:r>
            <a:rPr lang="en-US" dirty="0"/>
            <a:t>Set-</a:t>
          </a:r>
          <a:r>
            <a:rPr lang="en-US" dirty="0" err="1"/>
            <a:t>SPOTenantCdnEnabled</a:t>
          </a:r>
          <a:r>
            <a:rPr lang="en-US" dirty="0"/>
            <a:t> -</a:t>
          </a:r>
          <a:r>
            <a:rPr lang="en-US" dirty="0" err="1"/>
            <a:t>CdnType</a:t>
          </a:r>
          <a:r>
            <a:rPr lang="en-US" dirty="0"/>
            <a:t> Both -Enable $true –</a:t>
          </a:r>
          <a:r>
            <a:rPr lang="en-US" dirty="0" err="1"/>
            <a:t>NoDefaultOrigins</a:t>
          </a:r>
          <a:endParaRPr lang="nb-NO" dirty="0"/>
        </a:p>
      </dgm:t>
    </dgm:pt>
    <dgm:pt modelId="{E9F25ED2-4DDF-4B23-BD3F-94150D7A3259}" type="parTrans" cxnId="{73BB8253-D474-4CC4-8392-FEB86037D805}">
      <dgm:prSet/>
      <dgm:spPr/>
      <dgm:t>
        <a:bodyPr/>
        <a:lstStyle/>
        <a:p>
          <a:endParaRPr lang="en-US"/>
        </a:p>
      </dgm:t>
    </dgm:pt>
    <dgm:pt modelId="{1C842290-B652-44E5-A318-68D1F5BDBE11}" type="sibTrans" cxnId="{73BB8253-D474-4CC4-8392-FEB86037D805}">
      <dgm:prSet/>
      <dgm:spPr/>
      <dgm:t>
        <a:bodyPr/>
        <a:lstStyle/>
        <a:p>
          <a:endParaRPr lang="en-US"/>
        </a:p>
      </dgm:t>
    </dgm:pt>
    <dgm:pt modelId="{5935B876-7C4B-41D6-A669-E7678608CC0E}">
      <dgm:prSet phldr="0"/>
      <dgm:spPr/>
      <dgm:t>
        <a:bodyPr/>
        <a:lstStyle/>
        <a:p>
          <a:r>
            <a:rPr lang="en-US" dirty="0"/>
            <a:t>Set-</a:t>
          </a:r>
          <a:r>
            <a:rPr lang="en-US" dirty="0" err="1"/>
            <a:t>SPOTenantCdnEnabled</a:t>
          </a:r>
          <a:r>
            <a:rPr lang="en-US" dirty="0"/>
            <a:t> -</a:t>
          </a:r>
          <a:r>
            <a:rPr lang="en-US" dirty="0" err="1"/>
            <a:t>CdnType</a:t>
          </a:r>
          <a:r>
            <a:rPr lang="en-US" dirty="0"/>
            <a:t> Both -Enable $true</a:t>
          </a:r>
        </a:p>
      </dgm:t>
    </dgm:pt>
    <dgm:pt modelId="{ABCD0F61-CB49-457A-82A3-5B1D0DB608F1}" type="parTrans" cxnId="{CF310C36-1D8F-49A8-AC19-77E6A5D4378D}">
      <dgm:prSet/>
      <dgm:spPr/>
      <dgm:t>
        <a:bodyPr/>
        <a:lstStyle/>
        <a:p>
          <a:endParaRPr lang="en-US"/>
        </a:p>
      </dgm:t>
    </dgm:pt>
    <dgm:pt modelId="{C73C2B6A-EAA1-4E3F-9A67-2A0F475F4083}" type="sibTrans" cxnId="{CF310C36-1D8F-49A8-AC19-77E6A5D4378D}">
      <dgm:prSet/>
      <dgm:spPr/>
      <dgm:t>
        <a:bodyPr/>
        <a:lstStyle/>
        <a:p>
          <a:endParaRPr lang="en-US"/>
        </a:p>
      </dgm:t>
    </dgm:pt>
    <dgm:pt modelId="{44250CF3-F175-4F0A-9EC7-3B128C9206C5}">
      <dgm:prSet phldr="0"/>
      <dgm:spPr/>
      <dgm:t>
        <a:bodyPr/>
        <a:lstStyle/>
        <a:p>
          <a:r>
            <a:rPr lang="en-US" dirty="0"/>
            <a:t>Set-</a:t>
          </a:r>
          <a:r>
            <a:rPr lang="en-US" dirty="0" err="1"/>
            <a:t>SPOTenantCdnEnabled</a:t>
          </a:r>
          <a:r>
            <a:rPr lang="en-US" dirty="0"/>
            <a:t> -</a:t>
          </a:r>
          <a:r>
            <a:rPr lang="en-US" dirty="0" err="1"/>
            <a:t>CdnType</a:t>
          </a:r>
          <a:r>
            <a:rPr lang="en-US" dirty="0"/>
            <a:t> Public -Enable $true</a:t>
          </a:r>
        </a:p>
      </dgm:t>
    </dgm:pt>
    <dgm:pt modelId="{25C10246-3AEB-4A4F-8D96-4E60667866EF}" type="parTrans" cxnId="{BB391537-63A4-4E0E-A87E-C1AA3340CDBA}">
      <dgm:prSet/>
      <dgm:spPr/>
      <dgm:t>
        <a:bodyPr/>
        <a:lstStyle/>
        <a:p>
          <a:endParaRPr lang="en-US"/>
        </a:p>
      </dgm:t>
    </dgm:pt>
    <dgm:pt modelId="{7DD63EBB-F0FF-4DF2-A6D0-50133BDDA464}" type="sibTrans" cxnId="{BB391537-63A4-4E0E-A87E-C1AA3340CDBA}">
      <dgm:prSet/>
      <dgm:spPr/>
      <dgm:t>
        <a:bodyPr/>
        <a:lstStyle/>
        <a:p>
          <a:endParaRPr lang="en-US"/>
        </a:p>
      </dgm:t>
    </dgm:pt>
    <dgm:pt modelId="{E3574913-B5E2-4CDD-A213-5762E373769C}">
      <dgm:prSet phldr="0"/>
      <dgm:spPr/>
      <dgm:t>
        <a:bodyPr/>
        <a:lstStyle/>
        <a:p>
          <a:r>
            <a:rPr lang="en-US" dirty="0"/>
            <a:t>Set-</a:t>
          </a:r>
          <a:r>
            <a:rPr lang="en-US" dirty="0" err="1"/>
            <a:t>SPOTenantCdnEnabled</a:t>
          </a:r>
          <a:r>
            <a:rPr lang="en-US" dirty="0"/>
            <a:t> -</a:t>
          </a:r>
          <a:r>
            <a:rPr lang="en-US" dirty="0" err="1"/>
            <a:t>CdnType</a:t>
          </a:r>
          <a:r>
            <a:rPr lang="en-US" dirty="0"/>
            <a:t> Private -Enable $true</a:t>
          </a:r>
        </a:p>
      </dgm:t>
    </dgm:pt>
    <dgm:pt modelId="{B645D532-0F78-49B2-99E6-2DE47FABEA50}" type="parTrans" cxnId="{52FE1803-D90F-4015-9852-9C6AE96DF5FF}">
      <dgm:prSet/>
      <dgm:spPr/>
      <dgm:t>
        <a:bodyPr/>
        <a:lstStyle/>
        <a:p>
          <a:endParaRPr lang="en-US"/>
        </a:p>
      </dgm:t>
    </dgm:pt>
    <dgm:pt modelId="{22BE18A4-4EEF-40CE-9725-3D9E10F98DB4}" type="sibTrans" cxnId="{52FE1803-D90F-4015-9852-9C6AE96DF5FF}">
      <dgm:prSet/>
      <dgm:spPr/>
      <dgm:t>
        <a:bodyPr/>
        <a:lstStyle/>
        <a:p>
          <a:endParaRPr lang="en-US"/>
        </a:p>
      </dgm:t>
    </dgm:pt>
    <dgm:pt modelId="{6E2357E8-27DD-4A71-81BE-F57DF5715E09}" type="pres">
      <dgm:prSet presAssocID="{2397E3D7-9B7E-4C4A-A458-1281EAE8F3FB}" presName="vert0" presStyleCnt="0">
        <dgm:presLayoutVars>
          <dgm:dir/>
          <dgm:animOne val="branch"/>
          <dgm:animLvl val="lvl"/>
        </dgm:presLayoutVars>
      </dgm:prSet>
      <dgm:spPr/>
    </dgm:pt>
    <dgm:pt modelId="{366584DA-524D-4B49-9DEA-8DF3CE2D8CCD}" type="pres">
      <dgm:prSet presAssocID="{21C5511E-D5E2-4766-9F89-ABA09753C2AB}" presName="thickLine" presStyleLbl="alignNode1" presStyleIdx="0" presStyleCnt="5"/>
      <dgm:spPr/>
    </dgm:pt>
    <dgm:pt modelId="{E808E53E-83A9-4CEC-BC16-896E9DFBFEB7}" type="pres">
      <dgm:prSet presAssocID="{21C5511E-D5E2-4766-9F89-ABA09753C2AB}" presName="horz1" presStyleCnt="0"/>
      <dgm:spPr/>
    </dgm:pt>
    <dgm:pt modelId="{A07DFE39-5F95-49E5-8CFB-22FA4667B8EC}" type="pres">
      <dgm:prSet presAssocID="{21C5511E-D5E2-4766-9F89-ABA09753C2AB}" presName="tx1" presStyleLbl="revTx" presStyleIdx="0" presStyleCnt="5"/>
      <dgm:spPr/>
    </dgm:pt>
    <dgm:pt modelId="{00EBE32A-DB85-4F0F-9F96-098A7BA16AE9}" type="pres">
      <dgm:prSet presAssocID="{21C5511E-D5E2-4766-9F89-ABA09753C2AB}" presName="vert1" presStyleCnt="0"/>
      <dgm:spPr/>
    </dgm:pt>
    <dgm:pt modelId="{2B6103BC-0760-4276-8A3A-D5D2C84B5734}" type="pres">
      <dgm:prSet presAssocID="{5935B876-7C4B-41D6-A669-E7678608CC0E}" presName="thickLine" presStyleLbl="alignNode1" presStyleIdx="1" presStyleCnt="5"/>
      <dgm:spPr/>
    </dgm:pt>
    <dgm:pt modelId="{2FC6290A-03B2-449C-8EA2-E6847C0F0928}" type="pres">
      <dgm:prSet presAssocID="{5935B876-7C4B-41D6-A669-E7678608CC0E}" presName="horz1" presStyleCnt="0"/>
      <dgm:spPr/>
    </dgm:pt>
    <dgm:pt modelId="{66D7054C-9095-4B1D-8F13-911141949FDA}" type="pres">
      <dgm:prSet presAssocID="{5935B876-7C4B-41D6-A669-E7678608CC0E}" presName="tx1" presStyleLbl="revTx" presStyleIdx="1" presStyleCnt="5"/>
      <dgm:spPr/>
    </dgm:pt>
    <dgm:pt modelId="{4A0E2B18-F6DF-4544-B456-426BCD3B1CBA}" type="pres">
      <dgm:prSet presAssocID="{5935B876-7C4B-41D6-A669-E7678608CC0E}" presName="vert1" presStyleCnt="0"/>
      <dgm:spPr/>
    </dgm:pt>
    <dgm:pt modelId="{10F04D1F-6356-4752-887B-CD7A3E2E0497}" type="pres">
      <dgm:prSet presAssocID="{2950DD13-CD2A-4C9C-86D3-01F68A7225BB}" presName="thickLine" presStyleLbl="alignNode1" presStyleIdx="2" presStyleCnt="5"/>
      <dgm:spPr/>
    </dgm:pt>
    <dgm:pt modelId="{A71E2FE0-7027-48B4-99D7-6CD15CF72E64}" type="pres">
      <dgm:prSet presAssocID="{2950DD13-CD2A-4C9C-86D3-01F68A7225BB}" presName="horz1" presStyleCnt="0"/>
      <dgm:spPr/>
    </dgm:pt>
    <dgm:pt modelId="{A78314E7-759C-41CA-B713-B84430751291}" type="pres">
      <dgm:prSet presAssocID="{2950DD13-CD2A-4C9C-86D3-01F68A7225BB}" presName="tx1" presStyleLbl="revTx" presStyleIdx="2" presStyleCnt="5"/>
      <dgm:spPr/>
    </dgm:pt>
    <dgm:pt modelId="{C1BF1FBF-CD5F-4BFE-BE95-03C218AD77FB}" type="pres">
      <dgm:prSet presAssocID="{2950DD13-CD2A-4C9C-86D3-01F68A7225BB}" presName="vert1" presStyleCnt="0"/>
      <dgm:spPr/>
    </dgm:pt>
    <dgm:pt modelId="{DEFFADE9-CD03-46D0-923D-5980512DFC5C}" type="pres">
      <dgm:prSet presAssocID="{44250CF3-F175-4F0A-9EC7-3B128C9206C5}" presName="thickLine" presStyleLbl="alignNode1" presStyleIdx="3" presStyleCnt="5"/>
      <dgm:spPr/>
    </dgm:pt>
    <dgm:pt modelId="{542E9134-2636-4CA1-9F2A-363F58D6E45A}" type="pres">
      <dgm:prSet presAssocID="{44250CF3-F175-4F0A-9EC7-3B128C9206C5}" presName="horz1" presStyleCnt="0"/>
      <dgm:spPr/>
    </dgm:pt>
    <dgm:pt modelId="{344CC79B-A282-4DD5-B59A-0717D8D42DCE}" type="pres">
      <dgm:prSet presAssocID="{44250CF3-F175-4F0A-9EC7-3B128C9206C5}" presName="tx1" presStyleLbl="revTx" presStyleIdx="3" presStyleCnt="5"/>
      <dgm:spPr/>
    </dgm:pt>
    <dgm:pt modelId="{BACD5037-F4A7-4824-8F3B-C40B2087A925}" type="pres">
      <dgm:prSet presAssocID="{44250CF3-F175-4F0A-9EC7-3B128C9206C5}" presName="vert1" presStyleCnt="0"/>
      <dgm:spPr/>
    </dgm:pt>
    <dgm:pt modelId="{51E2C68D-41AA-4832-AFFD-BCD7F5C3D61A}" type="pres">
      <dgm:prSet presAssocID="{E3574913-B5E2-4CDD-A213-5762E373769C}" presName="thickLine" presStyleLbl="alignNode1" presStyleIdx="4" presStyleCnt="5"/>
      <dgm:spPr/>
    </dgm:pt>
    <dgm:pt modelId="{474C14B4-7F3C-431A-8E91-E423F7A5B2A7}" type="pres">
      <dgm:prSet presAssocID="{E3574913-B5E2-4CDD-A213-5762E373769C}" presName="horz1" presStyleCnt="0"/>
      <dgm:spPr/>
    </dgm:pt>
    <dgm:pt modelId="{5CB2340A-3435-4333-82AD-485F2AD68472}" type="pres">
      <dgm:prSet presAssocID="{E3574913-B5E2-4CDD-A213-5762E373769C}" presName="tx1" presStyleLbl="revTx" presStyleIdx="4" presStyleCnt="5"/>
      <dgm:spPr/>
    </dgm:pt>
    <dgm:pt modelId="{ED93DD91-987C-4969-87DA-E792AD34E17A}" type="pres">
      <dgm:prSet presAssocID="{E3574913-B5E2-4CDD-A213-5762E373769C}" presName="vert1" presStyleCnt="0"/>
      <dgm:spPr/>
    </dgm:pt>
  </dgm:ptLst>
  <dgm:cxnLst>
    <dgm:cxn modelId="{52FE1803-D90F-4015-9852-9C6AE96DF5FF}" srcId="{2397E3D7-9B7E-4C4A-A458-1281EAE8F3FB}" destId="{E3574913-B5E2-4CDD-A213-5762E373769C}" srcOrd="4" destOrd="0" parTransId="{B645D532-0F78-49B2-99E6-2DE47FABEA50}" sibTransId="{22BE18A4-4EEF-40CE-9725-3D9E10F98DB4}"/>
    <dgm:cxn modelId="{EFA32810-C55A-49A4-A3CD-6A778DE1B0ED}" type="presOf" srcId="{21C5511E-D5E2-4766-9F89-ABA09753C2AB}" destId="{A07DFE39-5F95-49E5-8CFB-22FA4667B8EC}" srcOrd="0" destOrd="0" presId="urn:microsoft.com/office/officeart/2008/layout/LinedList"/>
    <dgm:cxn modelId="{84E0F825-1FDD-4A4B-BF38-FFC8CA9AD745}" srcId="{2397E3D7-9B7E-4C4A-A458-1281EAE8F3FB}" destId="{21C5511E-D5E2-4766-9F89-ABA09753C2AB}" srcOrd="0" destOrd="0" parTransId="{5F16B0A4-A26E-4EC4-8B24-FB5DC74EEA42}" sibTransId="{1D8743A2-7C15-45FE-9E74-732A024D160F}"/>
    <dgm:cxn modelId="{CF310C36-1D8F-49A8-AC19-77E6A5D4378D}" srcId="{2397E3D7-9B7E-4C4A-A458-1281EAE8F3FB}" destId="{5935B876-7C4B-41D6-A669-E7678608CC0E}" srcOrd="1" destOrd="0" parTransId="{ABCD0F61-CB49-457A-82A3-5B1D0DB608F1}" sibTransId="{C73C2B6A-EAA1-4E3F-9A67-2A0F475F4083}"/>
    <dgm:cxn modelId="{BB391537-63A4-4E0E-A87E-C1AA3340CDBA}" srcId="{2397E3D7-9B7E-4C4A-A458-1281EAE8F3FB}" destId="{44250CF3-F175-4F0A-9EC7-3B128C9206C5}" srcOrd="3" destOrd="0" parTransId="{25C10246-3AEB-4A4F-8D96-4E60667866EF}" sibTransId="{7DD63EBB-F0FF-4DF2-A6D0-50133BDDA464}"/>
    <dgm:cxn modelId="{73BB8253-D474-4CC4-8392-FEB86037D805}" srcId="{2397E3D7-9B7E-4C4A-A458-1281EAE8F3FB}" destId="{2950DD13-CD2A-4C9C-86D3-01F68A7225BB}" srcOrd="2" destOrd="0" parTransId="{E9F25ED2-4DDF-4B23-BD3F-94150D7A3259}" sibTransId="{1C842290-B652-44E5-A318-68D1F5BDBE11}"/>
    <dgm:cxn modelId="{A9786C8F-5B2F-4851-A8DB-810EE5D5DFA2}" type="presOf" srcId="{2397E3D7-9B7E-4C4A-A458-1281EAE8F3FB}" destId="{6E2357E8-27DD-4A71-81BE-F57DF5715E09}" srcOrd="0" destOrd="0" presId="urn:microsoft.com/office/officeart/2008/layout/LinedList"/>
    <dgm:cxn modelId="{070F93B9-A702-49D2-9CBB-57BF0BFCF0F2}" type="presOf" srcId="{2950DD13-CD2A-4C9C-86D3-01F68A7225BB}" destId="{A78314E7-759C-41CA-B713-B84430751291}" srcOrd="0" destOrd="0" presId="urn:microsoft.com/office/officeart/2008/layout/LinedList"/>
    <dgm:cxn modelId="{FDAFD2CE-7A54-45A2-BDE5-B635F03FFB6A}" type="presOf" srcId="{E3574913-B5E2-4CDD-A213-5762E373769C}" destId="{5CB2340A-3435-4333-82AD-485F2AD68472}" srcOrd="0" destOrd="0" presId="urn:microsoft.com/office/officeart/2008/layout/LinedList"/>
    <dgm:cxn modelId="{DB5D57D9-784C-41B5-8ADE-F05DC8AAD137}" type="presOf" srcId="{5935B876-7C4B-41D6-A669-E7678608CC0E}" destId="{66D7054C-9095-4B1D-8F13-911141949FDA}" srcOrd="0" destOrd="0" presId="urn:microsoft.com/office/officeart/2008/layout/LinedList"/>
    <dgm:cxn modelId="{70FD20FC-95E7-4E1D-B2A2-6550E853B27B}" type="presOf" srcId="{44250CF3-F175-4F0A-9EC7-3B128C9206C5}" destId="{344CC79B-A282-4DD5-B59A-0717D8D42DCE}" srcOrd="0" destOrd="0" presId="urn:microsoft.com/office/officeart/2008/layout/LinedList"/>
    <dgm:cxn modelId="{538B5CB4-3984-4098-BEA9-9CB5872E6D27}" type="presParOf" srcId="{6E2357E8-27DD-4A71-81BE-F57DF5715E09}" destId="{366584DA-524D-4B49-9DEA-8DF3CE2D8CCD}" srcOrd="0" destOrd="0" presId="urn:microsoft.com/office/officeart/2008/layout/LinedList"/>
    <dgm:cxn modelId="{D3353B4E-7E36-4DD7-B954-58431ABACDEF}" type="presParOf" srcId="{6E2357E8-27DD-4A71-81BE-F57DF5715E09}" destId="{E808E53E-83A9-4CEC-BC16-896E9DFBFEB7}" srcOrd="1" destOrd="0" presId="urn:microsoft.com/office/officeart/2008/layout/LinedList"/>
    <dgm:cxn modelId="{88D5AEA2-61C4-4570-9E05-D56BF57AA6EA}" type="presParOf" srcId="{E808E53E-83A9-4CEC-BC16-896E9DFBFEB7}" destId="{A07DFE39-5F95-49E5-8CFB-22FA4667B8EC}" srcOrd="0" destOrd="0" presId="urn:microsoft.com/office/officeart/2008/layout/LinedList"/>
    <dgm:cxn modelId="{42D6BAA4-5CD6-466B-8F37-588916D6D3DB}" type="presParOf" srcId="{E808E53E-83A9-4CEC-BC16-896E9DFBFEB7}" destId="{00EBE32A-DB85-4F0F-9F96-098A7BA16AE9}" srcOrd="1" destOrd="0" presId="urn:microsoft.com/office/officeart/2008/layout/LinedList"/>
    <dgm:cxn modelId="{16CC64EF-428F-48C9-85B1-27DFC25EFEF9}" type="presParOf" srcId="{6E2357E8-27DD-4A71-81BE-F57DF5715E09}" destId="{2B6103BC-0760-4276-8A3A-D5D2C84B5734}" srcOrd="2" destOrd="0" presId="urn:microsoft.com/office/officeart/2008/layout/LinedList"/>
    <dgm:cxn modelId="{320EF414-42A5-4F7B-BB10-1081F5358198}" type="presParOf" srcId="{6E2357E8-27DD-4A71-81BE-F57DF5715E09}" destId="{2FC6290A-03B2-449C-8EA2-E6847C0F0928}" srcOrd="3" destOrd="0" presId="urn:microsoft.com/office/officeart/2008/layout/LinedList"/>
    <dgm:cxn modelId="{D9B61069-8709-40C4-9567-AE8CB529674A}" type="presParOf" srcId="{2FC6290A-03B2-449C-8EA2-E6847C0F0928}" destId="{66D7054C-9095-4B1D-8F13-911141949FDA}" srcOrd="0" destOrd="0" presId="urn:microsoft.com/office/officeart/2008/layout/LinedList"/>
    <dgm:cxn modelId="{4E9EC303-1B5A-4698-8559-24261E7C6B3D}" type="presParOf" srcId="{2FC6290A-03B2-449C-8EA2-E6847C0F0928}" destId="{4A0E2B18-F6DF-4544-B456-426BCD3B1CBA}" srcOrd="1" destOrd="0" presId="urn:microsoft.com/office/officeart/2008/layout/LinedList"/>
    <dgm:cxn modelId="{34D3F61D-B7FD-4D7E-8B62-D17873441239}" type="presParOf" srcId="{6E2357E8-27DD-4A71-81BE-F57DF5715E09}" destId="{10F04D1F-6356-4752-887B-CD7A3E2E0497}" srcOrd="4" destOrd="0" presId="urn:microsoft.com/office/officeart/2008/layout/LinedList"/>
    <dgm:cxn modelId="{4B192D0D-ADF5-4668-A2FD-ECEA62D141BD}" type="presParOf" srcId="{6E2357E8-27DD-4A71-81BE-F57DF5715E09}" destId="{A71E2FE0-7027-48B4-99D7-6CD15CF72E64}" srcOrd="5" destOrd="0" presId="urn:microsoft.com/office/officeart/2008/layout/LinedList"/>
    <dgm:cxn modelId="{E25FFCD6-7BAF-467C-A8EC-5D17C525E69F}" type="presParOf" srcId="{A71E2FE0-7027-48B4-99D7-6CD15CF72E64}" destId="{A78314E7-759C-41CA-B713-B84430751291}" srcOrd="0" destOrd="0" presId="urn:microsoft.com/office/officeart/2008/layout/LinedList"/>
    <dgm:cxn modelId="{F19898E3-380F-4056-9951-6964CA8BAC28}" type="presParOf" srcId="{A71E2FE0-7027-48B4-99D7-6CD15CF72E64}" destId="{C1BF1FBF-CD5F-4BFE-BE95-03C218AD77FB}" srcOrd="1" destOrd="0" presId="urn:microsoft.com/office/officeart/2008/layout/LinedList"/>
    <dgm:cxn modelId="{FD639203-DBC3-42EC-A519-780F85C9CA5E}" type="presParOf" srcId="{6E2357E8-27DD-4A71-81BE-F57DF5715E09}" destId="{DEFFADE9-CD03-46D0-923D-5980512DFC5C}" srcOrd="6" destOrd="0" presId="urn:microsoft.com/office/officeart/2008/layout/LinedList"/>
    <dgm:cxn modelId="{62DF5456-6429-48C0-B155-1261D299DB35}" type="presParOf" srcId="{6E2357E8-27DD-4A71-81BE-F57DF5715E09}" destId="{542E9134-2636-4CA1-9F2A-363F58D6E45A}" srcOrd="7" destOrd="0" presId="urn:microsoft.com/office/officeart/2008/layout/LinedList"/>
    <dgm:cxn modelId="{4E64F3BE-1886-4B5A-BA7E-045CB0D1B8B3}" type="presParOf" srcId="{542E9134-2636-4CA1-9F2A-363F58D6E45A}" destId="{344CC79B-A282-4DD5-B59A-0717D8D42DCE}" srcOrd="0" destOrd="0" presId="urn:microsoft.com/office/officeart/2008/layout/LinedList"/>
    <dgm:cxn modelId="{EB873296-44B2-40D0-99FA-882C44B40A1A}" type="presParOf" srcId="{542E9134-2636-4CA1-9F2A-363F58D6E45A}" destId="{BACD5037-F4A7-4824-8F3B-C40B2087A925}" srcOrd="1" destOrd="0" presId="urn:microsoft.com/office/officeart/2008/layout/LinedList"/>
    <dgm:cxn modelId="{6E77AD29-F7D9-451D-A9D0-0EE1BB570760}" type="presParOf" srcId="{6E2357E8-27DD-4A71-81BE-F57DF5715E09}" destId="{51E2C68D-41AA-4832-AFFD-BCD7F5C3D61A}" srcOrd="8" destOrd="0" presId="urn:microsoft.com/office/officeart/2008/layout/LinedList"/>
    <dgm:cxn modelId="{CA55C35B-B78F-4EA7-A0F9-0FB2E9BCF8DB}" type="presParOf" srcId="{6E2357E8-27DD-4A71-81BE-F57DF5715E09}" destId="{474C14B4-7F3C-431A-8E91-E423F7A5B2A7}" srcOrd="9" destOrd="0" presId="urn:microsoft.com/office/officeart/2008/layout/LinedList"/>
    <dgm:cxn modelId="{820A3065-2DD7-4DCF-AD18-9B9FB0D5AB9F}" type="presParOf" srcId="{474C14B4-7F3C-431A-8E91-E423F7A5B2A7}" destId="{5CB2340A-3435-4333-82AD-485F2AD68472}" srcOrd="0" destOrd="0" presId="urn:microsoft.com/office/officeart/2008/layout/LinedList"/>
    <dgm:cxn modelId="{2522B4E5-DB0F-442F-9899-BF95ACFD95F1}" type="presParOf" srcId="{474C14B4-7F3C-431A-8E91-E423F7A5B2A7}" destId="{ED93DD91-987C-4969-87DA-E792AD34E17A}"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E0E7BE-9FD7-47E8-ACB5-613061A08863}"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71E2A205-2F59-48BF-86B6-7F401E07BD8E}">
      <dgm:prSet custT="1"/>
      <dgm:spPr/>
      <dgm:t>
        <a:bodyPr/>
        <a:lstStyle/>
        <a:p>
          <a:r>
            <a:rPr lang="en-US" sz="3200"/>
            <a:t>Default private origins:</a:t>
          </a:r>
        </a:p>
      </dgm:t>
    </dgm:pt>
    <dgm:pt modelId="{A9165707-137A-430B-B7E2-CA76D6033491}" type="parTrans" cxnId="{8D27B360-6783-49C9-8F74-22E4035A9817}">
      <dgm:prSet/>
      <dgm:spPr/>
      <dgm:t>
        <a:bodyPr/>
        <a:lstStyle/>
        <a:p>
          <a:endParaRPr lang="en-US" sz="1400"/>
        </a:p>
      </dgm:t>
    </dgm:pt>
    <dgm:pt modelId="{5E952ABB-D71E-4762-9453-F881D7C346F1}" type="sibTrans" cxnId="{8D27B360-6783-49C9-8F74-22E4035A9817}">
      <dgm:prSet/>
      <dgm:spPr/>
      <dgm:t>
        <a:bodyPr/>
        <a:lstStyle/>
        <a:p>
          <a:endParaRPr lang="en-US" sz="1400"/>
        </a:p>
      </dgm:t>
    </dgm:pt>
    <dgm:pt modelId="{41A47A5B-B704-48D0-B089-3FF1741B6BAE}">
      <dgm:prSet custT="1"/>
      <dgm:spPr/>
      <dgm:t>
        <a:bodyPr/>
        <a:lstStyle/>
        <a:p>
          <a:r>
            <a:rPr lang="en-US" sz="3200"/>
            <a:t>*/userphoto.aspx</a:t>
          </a:r>
        </a:p>
      </dgm:t>
    </dgm:pt>
    <dgm:pt modelId="{25DF091E-9884-4F7A-98D0-8383BBDB3341}" type="parTrans" cxnId="{1D0509C6-B171-405E-8371-9FA85EA14532}">
      <dgm:prSet/>
      <dgm:spPr/>
      <dgm:t>
        <a:bodyPr/>
        <a:lstStyle/>
        <a:p>
          <a:endParaRPr lang="en-US" sz="1400"/>
        </a:p>
      </dgm:t>
    </dgm:pt>
    <dgm:pt modelId="{A4590F3D-89B2-4F9A-AADF-F03004903D34}" type="sibTrans" cxnId="{1D0509C6-B171-405E-8371-9FA85EA14532}">
      <dgm:prSet/>
      <dgm:spPr/>
      <dgm:t>
        <a:bodyPr/>
        <a:lstStyle/>
        <a:p>
          <a:endParaRPr lang="en-US" sz="1400"/>
        </a:p>
      </dgm:t>
    </dgm:pt>
    <dgm:pt modelId="{CBFD9A98-D4F1-4DE5-8CAE-297CD24A32E7}">
      <dgm:prSet custT="1"/>
      <dgm:spPr/>
      <dgm:t>
        <a:bodyPr/>
        <a:lstStyle/>
        <a:p>
          <a:r>
            <a:rPr lang="en-US" sz="3200"/>
            <a:t>*/siteassets</a:t>
          </a:r>
        </a:p>
      </dgm:t>
    </dgm:pt>
    <dgm:pt modelId="{02A37F84-9BF6-4127-B762-A181AC63D225}" type="parTrans" cxnId="{677EBA69-D4E7-48D5-8AB9-08D9CAACB5CA}">
      <dgm:prSet/>
      <dgm:spPr/>
      <dgm:t>
        <a:bodyPr/>
        <a:lstStyle/>
        <a:p>
          <a:endParaRPr lang="en-US" sz="1400"/>
        </a:p>
      </dgm:t>
    </dgm:pt>
    <dgm:pt modelId="{F4E69786-5516-498D-8B24-B3D6CA4B52A5}" type="sibTrans" cxnId="{677EBA69-D4E7-48D5-8AB9-08D9CAACB5CA}">
      <dgm:prSet/>
      <dgm:spPr/>
      <dgm:t>
        <a:bodyPr/>
        <a:lstStyle/>
        <a:p>
          <a:endParaRPr lang="en-US" sz="1400"/>
        </a:p>
      </dgm:t>
    </dgm:pt>
    <dgm:pt modelId="{0566FF30-E30F-4C23-AAC4-62AF0328AEAA}">
      <dgm:prSet custT="1"/>
      <dgm:spPr/>
      <dgm:t>
        <a:bodyPr/>
        <a:lstStyle/>
        <a:p>
          <a:r>
            <a:rPr lang="en-US" sz="3200"/>
            <a:t>Default public origins:</a:t>
          </a:r>
        </a:p>
      </dgm:t>
    </dgm:pt>
    <dgm:pt modelId="{BD3EF913-A4BF-44D8-9C1D-C63B0FE02D79}" type="parTrans" cxnId="{5C95F001-E569-402C-8454-5B55FABC38D4}">
      <dgm:prSet/>
      <dgm:spPr/>
      <dgm:t>
        <a:bodyPr/>
        <a:lstStyle/>
        <a:p>
          <a:endParaRPr lang="en-US" sz="1400"/>
        </a:p>
      </dgm:t>
    </dgm:pt>
    <dgm:pt modelId="{72C800CF-9DD7-4AE5-9663-11CFC9E3A307}" type="sibTrans" cxnId="{5C95F001-E569-402C-8454-5B55FABC38D4}">
      <dgm:prSet/>
      <dgm:spPr/>
      <dgm:t>
        <a:bodyPr/>
        <a:lstStyle/>
        <a:p>
          <a:endParaRPr lang="en-US" sz="1400"/>
        </a:p>
      </dgm:t>
    </dgm:pt>
    <dgm:pt modelId="{EC441949-4599-403C-BD9B-829A11A3E540}">
      <dgm:prSet custT="1"/>
      <dgm:spPr/>
      <dgm:t>
        <a:bodyPr/>
        <a:lstStyle/>
        <a:p>
          <a:r>
            <a:rPr lang="en-US" sz="3200"/>
            <a:t>*/masterpage</a:t>
          </a:r>
        </a:p>
      </dgm:t>
    </dgm:pt>
    <dgm:pt modelId="{2890BA63-1A20-4190-8C10-241A5E1EDB1D}" type="parTrans" cxnId="{F5FE2573-C732-4741-930B-33513DA80EB0}">
      <dgm:prSet/>
      <dgm:spPr/>
      <dgm:t>
        <a:bodyPr/>
        <a:lstStyle/>
        <a:p>
          <a:endParaRPr lang="en-US" sz="1400"/>
        </a:p>
      </dgm:t>
    </dgm:pt>
    <dgm:pt modelId="{A9A2D8D3-0738-4F61-BA0A-F898CE2818D5}" type="sibTrans" cxnId="{F5FE2573-C732-4741-930B-33513DA80EB0}">
      <dgm:prSet/>
      <dgm:spPr/>
      <dgm:t>
        <a:bodyPr/>
        <a:lstStyle/>
        <a:p>
          <a:endParaRPr lang="en-US" sz="1400"/>
        </a:p>
      </dgm:t>
    </dgm:pt>
    <dgm:pt modelId="{92AED419-C257-40C7-BDFC-E576E976E171}">
      <dgm:prSet custT="1"/>
      <dgm:spPr/>
      <dgm:t>
        <a:bodyPr/>
        <a:lstStyle/>
        <a:p>
          <a:r>
            <a:rPr lang="en-US" sz="3200"/>
            <a:t>*/style library</a:t>
          </a:r>
        </a:p>
      </dgm:t>
    </dgm:pt>
    <dgm:pt modelId="{88037F43-1AA6-4CBB-B2A6-96BACDF3855D}" type="parTrans" cxnId="{61062C1D-DD1F-48C0-858C-0730C01A3272}">
      <dgm:prSet/>
      <dgm:spPr/>
      <dgm:t>
        <a:bodyPr/>
        <a:lstStyle/>
        <a:p>
          <a:endParaRPr lang="en-US" sz="1400"/>
        </a:p>
      </dgm:t>
    </dgm:pt>
    <dgm:pt modelId="{5C128317-645D-4B62-B5C3-817FD0B6401A}" type="sibTrans" cxnId="{61062C1D-DD1F-48C0-858C-0730C01A3272}">
      <dgm:prSet/>
      <dgm:spPr/>
      <dgm:t>
        <a:bodyPr/>
        <a:lstStyle/>
        <a:p>
          <a:endParaRPr lang="en-US" sz="1400"/>
        </a:p>
      </dgm:t>
    </dgm:pt>
    <dgm:pt modelId="{CF33F582-2F45-4D7A-86F5-72F2F44CB55C}" type="pres">
      <dgm:prSet presAssocID="{0FE0E7BE-9FD7-47E8-ACB5-613061A08863}" presName="Name0" presStyleCnt="0">
        <dgm:presLayoutVars>
          <dgm:dir/>
          <dgm:animLvl val="lvl"/>
          <dgm:resizeHandles val="exact"/>
        </dgm:presLayoutVars>
      </dgm:prSet>
      <dgm:spPr/>
    </dgm:pt>
    <dgm:pt modelId="{AC61583A-12B9-46D9-A43C-C215C1205F47}" type="pres">
      <dgm:prSet presAssocID="{71E2A205-2F59-48BF-86B6-7F401E07BD8E}" presName="composite" presStyleCnt="0"/>
      <dgm:spPr/>
    </dgm:pt>
    <dgm:pt modelId="{6A3195AE-EAB1-4AA9-A31B-305F0CFF36A3}" type="pres">
      <dgm:prSet presAssocID="{71E2A205-2F59-48BF-86B6-7F401E07BD8E}" presName="parTx" presStyleLbl="alignNode1" presStyleIdx="0" presStyleCnt="2">
        <dgm:presLayoutVars>
          <dgm:chMax val="0"/>
          <dgm:chPref val="0"/>
          <dgm:bulletEnabled val="1"/>
        </dgm:presLayoutVars>
      </dgm:prSet>
      <dgm:spPr/>
    </dgm:pt>
    <dgm:pt modelId="{00E936B9-39FF-4397-970E-0A1F925EDE90}" type="pres">
      <dgm:prSet presAssocID="{71E2A205-2F59-48BF-86B6-7F401E07BD8E}" presName="desTx" presStyleLbl="alignAccFollowNode1" presStyleIdx="0" presStyleCnt="2">
        <dgm:presLayoutVars>
          <dgm:bulletEnabled val="1"/>
        </dgm:presLayoutVars>
      </dgm:prSet>
      <dgm:spPr/>
    </dgm:pt>
    <dgm:pt modelId="{03C7D1B0-4D02-41CD-94C8-D24F74B653CB}" type="pres">
      <dgm:prSet presAssocID="{5E952ABB-D71E-4762-9453-F881D7C346F1}" presName="space" presStyleCnt="0"/>
      <dgm:spPr/>
    </dgm:pt>
    <dgm:pt modelId="{AE67C765-8184-42C9-93B4-85AE0A05429F}" type="pres">
      <dgm:prSet presAssocID="{0566FF30-E30F-4C23-AAC4-62AF0328AEAA}" presName="composite" presStyleCnt="0"/>
      <dgm:spPr/>
    </dgm:pt>
    <dgm:pt modelId="{54F7EFE5-0A07-4B70-B10A-F08125A37412}" type="pres">
      <dgm:prSet presAssocID="{0566FF30-E30F-4C23-AAC4-62AF0328AEAA}" presName="parTx" presStyleLbl="alignNode1" presStyleIdx="1" presStyleCnt="2">
        <dgm:presLayoutVars>
          <dgm:chMax val="0"/>
          <dgm:chPref val="0"/>
          <dgm:bulletEnabled val="1"/>
        </dgm:presLayoutVars>
      </dgm:prSet>
      <dgm:spPr/>
    </dgm:pt>
    <dgm:pt modelId="{B6F79A4F-2329-438D-8841-FCA77F9A4825}" type="pres">
      <dgm:prSet presAssocID="{0566FF30-E30F-4C23-AAC4-62AF0328AEAA}" presName="desTx" presStyleLbl="alignAccFollowNode1" presStyleIdx="1" presStyleCnt="2">
        <dgm:presLayoutVars>
          <dgm:bulletEnabled val="1"/>
        </dgm:presLayoutVars>
      </dgm:prSet>
      <dgm:spPr/>
    </dgm:pt>
  </dgm:ptLst>
  <dgm:cxnLst>
    <dgm:cxn modelId="{5C95F001-E569-402C-8454-5B55FABC38D4}" srcId="{0FE0E7BE-9FD7-47E8-ACB5-613061A08863}" destId="{0566FF30-E30F-4C23-AAC4-62AF0328AEAA}" srcOrd="1" destOrd="0" parTransId="{BD3EF913-A4BF-44D8-9C1D-C63B0FE02D79}" sibTransId="{72C800CF-9DD7-4AE5-9663-11CFC9E3A307}"/>
    <dgm:cxn modelId="{61062C1D-DD1F-48C0-858C-0730C01A3272}" srcId="{0566FF30-E30F-4C23-AAC4-62AF0328AEAA}" destId="{92AED419-C257-40C7-BDFC-E576E976E171}" srcOrd="1" destOrd="0" parTransId="{88037F43-1AA6-4CBB-B2A6-96BACDF3855D}" sibTransId="{5C128317-645D-4B62-B5C3-817FD0B6401A}"/>
    <dgm:cxn modelId="{AC41463F-7902-4E7B-BC8D-17EB04F60B07}" type="presOf" srcId="{EC441949-4599-403C-BD9B-829A11A3E540}" destId="{B6F79A4F-2329-438D-8841-FCA77F9A4825}" srcOrd="0" destOrd="0" presId="urn:microsoft.com/office/officeart/2005/8/layout/hList1"/>
    <dgm:cxn modelId="{5528E95B-AC0E-436B-95EC-D77225A8A432}" type="presOf" srcId="{0566FF30-E30F-4C23-AAC4-62AF0328AEAA}" destId="{54F7EFE5-0A07-4B70-B10A-F08125A37412}" srcOrd="0" destOrd="0" presId="urn:microsoft.com/office/officeart/2005/8/layout/hList1"/>
    <dgm:cxn modelId="{8D27B360-6783-49C9-8F74-22E4035A9817}" srcId="{0FE0E7BE-9FD7-47E8-ACB5-613061A08863}" destId="{71E2A205-2F59-48BF-86B6-7F401E07BD8E}" srcOrd="0" destOrd="0" parTransId="{A9165707-137A-430B-B7E2-CA76D6033491}" sibTransId="{5E952ABB-D71E-4762-9453-F881D7C346F1}"/>
    <dgm:cxn modelId="{677EBA69-D4E7-48D5-8AB9-08D9CAACB5CA}" srcId="{71E2A205-2F59-48BF-86B6-7F401E07BD8E}" destId="{CBFD9A98-D4F1-4DE5-8CAE-297CD24A32E7}" srcOrd="1" destOrd="0" parTransId="{02A37F84-9BF6-4127-B762-A181AC63D225}" sibTransId="{F4E69786-5516-498D-8B24-B3D6CA4B52A5}"/>
    <dgm:cxn modelId="{ADDA674D-0417-40E1-910A-9A288F9425F3}" type="presOf" srcId="{0FE0E7BE-9FD7-47E8-ACB5-613061A08863}" destId="{CF33F582-2F45-4D7A-86F5-72F2F44CB55C}" srcOrd="0" destOrd="0" presId="urn:microsoft.com/office/officeart/2005/8/layout/hList1"/>
    <dgm:cxn modelId="{F5FE2573-C732-4741-930B-33513DA80EB0}" srcId="{0566FF30-E30F-4C23-AAC4-62AF0328AEAA}" destId="{EC441949-4599-403C-BD9B-829A11A3E540}" srcOrd="0" destOrd="0" parTransId="{2890BA63-1A20-4190-8C10-241A5E1EDB1D}" sibTransId="{A9A2D8D3-0738-4F61-BA0A-F898CE2818D5}"/>
    <dgm:cxn modelId="{DBA8D887-5F2E-49DC-BA69-30ABA47B8BF5}" type="presOf" srcId="{41A47A5B-B704-48D0-B089-3FF1741B6BAE}" destId="{00E936B9-39FF-4397-970E-0A1F925EDE90}" srcOrd="0" destOrd="0" presId="urn:microsoft.com/office/officeart/2005/8/layout/hList1"/>
    <dgm:cxn modelId="{42A33B90-82DB-4A7A-9840-59762CC91D43}" type="presOf" srcId="{71E2A205-2F59-48BF-86B6-7F401E07BD8E}" destId="{6A3195AE-EAB1-4AA9-A31B-305F0CFF36A3}" srcOrd="0" destOrd="0" presId="urn:microsoft.com/office/officeart/2005/8/layout/hList1"/>
    <dgm:cxn modelId="{1D0509C6-B171-405E-8371-9FA85EA14532}" srcId="{71E2A205-2F59-48BF-86B6-7F401E07BD8E}" destId="{41A47A5B-B704-48D0-B089-3FF1741B6BAE}" srcOrd="0" destOrd="0" parTransId="{25DF091E-9884-4F7A-98D0-8383BBDB3341}" sibTransId="{A4590F3D-89B2-4F9A-AADF-F03004903D34}"/>
    <dgm:cxn modelId="{5139B6C9-3BBB-46C8-9746-8AE61FC88C6D}" type="presOf" srcId="{CBFD9A98-D4F1-4DE5-8CAE-297CD24A32E7}" destId="{00E936B9-39FF-4397-970E-0A1F925EDE90}" srcOrd="0" destOrd="1" presId="urn:microsoft.com/office/officeart/2005/8/layout/hList1"/>
    <dgm:cxn modelId="{2CC141DF-4951-4A5C-B6EA-D106BD9CAD1A}" type="presOf" srcId="{92AED419-C257-40C7-BDFC-E576E976E171}" destId="{B6F79A4F-2329-438D-8841-FCA77F9A4825}" srcOrd="0" destOrd="1" presId="urn:microsoft.com/office/officeart/2005/8/layout/hList1"/>
    <dgm:cxn modelId="{AF10E389-86E4-4EFD-8ADA-E906C6A252AA}" type="presParOf" srcId="{CF33F582-2F45-4D7A-86F5-72F2F44CB55C}" destId="{AC61583A-12B9-46D9-A43C-C215C1205F47}" srcOrd="0" destOrd="0" presId="urn:microsoft.com/office/officeart/2005/8/layout/hList1"/>
    <dgm:cxn modelId="{B2561577-11C6-4F8B-A029-018745AE1BA7}" type="presParOf" srcId="{AC61583A-12B9-46D9-A43C-C215C1205F47}" destId="{6A3195AE-EAB1-4AA9-A31B-305F0CFF36A3}" srcOrd="0" destOrd="0" presId="urn:microsoft.com/office/officeart/2005/8/layout/hList1"/>
    <dgm:cxn modelId="{2C890129-F2D8-499A-87F2-CAB28267AFED}" type="presParOf" srcId="{AC61583A-12B9-46D9-A43C-C215C1205F47}" destId="{00E936B9-39FF-4397-970E-0A1F925EDE90}" srcOrd="1" destOrd="0" presId="urn:microsoft.com/office/officeart/2005/8/layout/hList1"/>
    <dgm:cxn modelId="{3611FF59-0A0D-4A5A-915D-9645880CD3F2}" type="presParOf" srcId="{CF33F582-2F45-4D7A-86F5-72F2F44CB55C}" destId="{03C7D1B0-4D02-41CD-94C8-D24F74B653CB}" srcOrd="1" destOrd="0" presId="urn:microsoft.com/office/officeart/2005/8/layout/hList1"/>
    <dgm:cxn modelId="{1B9788CC-CDC8-40CC-A94D-93CEE1BB2220}" type="presParOf" srcId="{CF33F582-2F45-4D7A-86F5-72F2F44CB55C}" destId="{AE67C765-8184-42C9-93B4-85AE0A05429F}" srcOrd="2" destOrd="0" presId="urn:microsoft.com/office/officeart/2005/8/layout/hList1"/>
    <dgm:cxn modelId="{3EDF912C-DA50-48C0-AB4D-DD98765341A5}" type="presParOf" srcId="{AE67C765-8184-42C9-93B4-85AE0A05429F}" destId="{54F7EFE5-0A07-4B70-B10A-F08125A37412}" srcOrd="0" destOrd="0" presId="urn:microsoft.com/office/officeart/2005/8/layout/hList1"/>
    <dgm:cxn modelId="{2582BEEB-378B-47EF-8B02-1524AA12C54B}" type="presParOf" srcId="{AE67C765-8184-42C9-93B4-85AE0A05429F}" destId="{B6F79A4F-2329-438D-8841-FCA77F9A482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A6DE43D-2878-4293-8DA8-D0A408FF3369}" type="doc">
      <dgm:prSet loTypeId="urn:microsoft.com/office/officeart/2005/8/layout/process1" loCatId="process" qsTypeId="urn:microsoft.com/office/officeart/2005/8/quickstyle/simple1" qsCatId="simple" csTypeId="urn:microsoft.com/office/officeart/2005/8/colors/accent2_2" csCatId="accent2"/>
      <dgm:spPr/>
      <dgm:t>
        <a:bodyPr/>
        <a:lstStyle/>
        <a:p>
          <a:endParaRPr lang="en-US"/>
        </a:p>
      </dgm:t>
    </dgm:pt>
    <dgm:pt modelId="{AD389900-4AA9-4DAB-A038-5FD64F4C449D}">
      <dgm:prSet/>
      <dgm:spPr/>
      <dgm:t>
        <a:bodyPr/>
        <a:lstStyle/>
        <a:p>
          <a:r>
            <a:rPr lang="en-US" baseline="0" dirty="0"/>
            <a:t>Use the Add-</a:t>
          </a:r>
          <a:r>
            <a:rPr lang="en-US" baseline="0" dirty="0" err="1"/>
            <a:t>SPOTenantCdnOrigin</a:t>
          </a:r>
          <a:r>
            <a:rPr lang="en-US" baseline="0" dirty="0"/>
            <a:t> cmdlet to define an origin</a:t>
          </a:r>
          <a:endParaRPr lang="en-US" dirty="0"/>
        </a:p>
      </dgm:t>
    </dgm:pt>
    <dgm:pt modelId="{36BE5E7F-BDE6-4E84-938A-29E76A1BA3D2}" type="parTrans" cxnId="{42F63645-BB89-4281-94ED-A21E609EC052}">
      <dgm:prSet/>
      <dgm:spPr/>
      <dgm:t>
        <a:bodyPr/>
        <a:lstStyle/>
        <a:p>
          <a:endParaRPr lang="en-US"/>
        </a:p>
      </dgm:t>
    </dgm:pt>
    <dgm:pt modelId="{62791ED5-0645-4675-B4C5-6A6E6673C413}" type="sibTrans" cxnId="{42F63645-BB89-4281-94ED-A21E609EC052}">
      <dgm:prSet/>
      <dgm:spPr/>
      <dgm:t>
        <a:bodyPr/>
        <a:lstStyle/>
        <a:p>
          <a:endParaRPr lang="en-US"/>
        </a:p>
      </dgm:t>
    </dgm:pt>
    <dgm:pt modelId="{88E1915F-9C2A-43E9-891D-B454BCA7505F}">
      <dgm:prSet/>
      <dgm:spPr/>
      <dgm:t>
        <a:bodyPr/>
        <a:lstStyle/>
        <a:p>
          <a:r>
            <a:rPr lang="en-US" baseline="0"/>
            <a:t>You can define multiple origins. The origin is a URL that points to a SharePoint library or folder that contains the assets that you want to be hosted by the CDN.</a:t>
          </a:r>
          <a:endParaRPr lang="en-US"/>
        </a:p>
      </dgm:t>
    </dgm:pt>
    <dgm:pt modelId="{E0FD5AAC-E94B-4BAF-8B1E-E68311A3473D}" type="parTrans" cxnId="{E8A3B410-B642-4F10-888D-DFFE2061B670}">
      <dgm:prSet/>
      <dgm:spPr/>
      <dgm:t>
        <a:bodyPr/>
        <a:lstStyle/>
        <a:p>
          <a:endParaRPr lang="en-US"/>
        </a:p>
      </dgm:t>
    </dgm:pt>
    <dgm:pt modelId="{BEA70360-30C1-4678-8C4F-2ABA5A709E1B}" type="sibTrans" cxnId="{E8A3B410-B642-4F10-888D-DFFE2061B670}">
      <dgm:prSet/>
      <dgm:spPr/>
      <dgm:t>
        <a:bodyPr/>
        <a:lstStyle/>
        <a:p>
          <a:endParaRPr lang="en-US"/>
        </a:p>
      </dgm:t>
    </dgm:pt>
    <dgm:pt modelId="{4419AD08-7DE8-4465-A128-04FD7E3E966A}">
      <dgm:prSet/>
      <dgm:spPr/>
      <dgm:t>
        <a:bodyPr/>
        <a:lstStyle/>
        <a:p>
          <a:r>
            <a:rPr lang="en-US" baseline="0"/>
            <a:t>Add-SPOTenantCdnOrigin -CdnType &lt;Public | Private&gt; -OriginUrl &lt;path &gt;</a:t>
          </a:r>
          <a:endParaRPr lang="en-US"/>
        </a:p>
      </dgm:t>
    </dgm:pt>
    <dgm:pt modelId="{286A94C6-47AD-4EF0-A80D-750BB6DF964C}" type="parTrans" cxnId="{D8F9E0D6-5ED7-48C0-8F10-F9920D0B04FF}">
      <dgm:prSet/>
      <dgm:spPr/>
      <dgm:t>
        <a:bodyPr/>
        <a:lstStyle/>
        <a:p>
          <a:endParaRPr lang="en-US"/>
        </a:p>
      </dgm:t>
    </dgm:pt>
    <dgm:pt modelId="{D307C7A1-E1CD-4726-B504-630645485FB5}" type="sibTrans" cxnId="{D8F9E0D6-5ED7-48C0-8F10-F9920D0B04FF}">
      <dgm:prSet/>
      <dgm:spPr/>
      <dgm:t>
        <a:bodyPr/>
        <a:lstStyle/>
        <a:p>
          <a:endParaRPr lang="en-US"/>
        </a:p>
      </dgm:t>
    </dgm:pt>
    <dgm:pt modelId="{5BCF3BA6-5D89-4C04-9C62-0E8550BD877C}">
      <dgm:prSet/>
      <dgm:spPr/>
      <dgm:t>
        <a:bodyPr/>
        <a:lstStyle/>
        <a:p>
          <a:r>
            <a:rPr lang="en-US" baseline="0"/>
            <a:t>Where path is the path to the folder that contains the assets. You can use wildcards in addition to relative paths.</a:t>
          </a:r>
          <a:endParaRPr lang="en-US"/>
        </a:p>
      </dgm:t>
    </dgm:pt>
    <dgm:pt modelId="{BBB2275F-FC6C-4F9C-B09D-9EA0666E3E4C}" type="parTrans" cxnId="{9EC48093-71CA-4BDB-B1F1-5C01297B3AA7}">
      <dgm:prSet/>
      <dgm:spPr/>
      <dgm:t>
        <a:bodyPr/>
        <a:lstStyle/>
        <a:p>
          <a:endParaRPr lang="en-US"/>
        </a:p>
      </dgm:t>
    </dgm:pt>
    <dgm:pt modelId="{CB55495C-0416-4EB5-B9B6-E3C03ABC251B}" type="sibTrans" cxnId="{9EC48093-71CA-4BDB-B1F1-5C01297B3AA7}">
      <dgm:prSet/>
      <dgm:spPr/>
      <dgm:t>
        <a:bodyPr/>
        <a:lstStyle/>
        <a:p>
          <a:endParaRPr lang="en-US"/>
        </a:p>
      </dgm:t>
    </dgm:pt>
    <dgm:pt modelId="{84C49F70-1D23-4786-AB13-EEFFC8D68FCC}" type="pres">
      <dgm:prSet presAssocID="{DA6DE43D-2878-4293-8DA8-D0A408FF3369}" presName="Name0" presStyleCnt="0">
        <dgm:presLayoutVars>
          <dgm:dir/>
          <dgm:resizeHandles val="exact"/>
        </dgm:presLayoutVars>
      </dgm:prSet>
      <dgm:spPr/>
    </dgm:pt>
    <dgm:pt modelId="{B9DD0A7D-79F6-4DB4-8066-5AB460FE4E10}" type="pres">
      <dgm:prSet presAssocID="{AD389900-4AA9-4DAB-A038-5FD64F4C449D}" presName="node" presStyleLbl="node1" presStyleIdx="0" presStyleCnt="3">
        <dgm:presLayoutVars>
          <dgm:bulletEnabled val="1"/>
        </dgm:presLayoutVars>
      </dgm:prSet>
      <dgm:spPr/>
    </dgm:pt>
    <dgm:pt modelId="{B8C87AE5-049C-49ED-93B5-9B28AAC2D0D8}" type="pres">
      <dgm:prSet presAssocID="{62791ED5-0645-4675-B4C5-6A6E6673C413}" presName="sibTrans" presStyleLbl="sibTrans2D1" presStyleIdx="0" presStyleCnt="2"/>
      <dgm:spPr/>
    </dgm:pt>
    <dgm:pt modelId="{C48882D6-6EC4-4477-B76E-44974D7F247A}" type="pres">
      <dgm:prSet presAssocID="{62791ED5-0645-4675-B4C5-6A6E6673C413}" presName="connectorText" presStyleLbl="sibTrans2D1" presStyleIdx="0" presStyleCnt="2"/>
      <dgm:spPr/>
    </dgm:pt>
    <dgm:pt modelId="{BB130FC0-D515-426F-96C7-F368CA7A25B6}" type="pres">
      <dgm:prSet presAssocID="{88E1915F-9C2A-43E9-891D-B454BCA7505F}" presName="node" presStyleLbl="node1" presStyleIdx="1" presStyleCnt="3">
        <dgm:presLayoutVars>
          <dgm:bulletEnabled val="1"/>
        </dgm:presLayoutVars>
      </dgm:prSet>
      <dgm:spPr/>
    </dgm:pt>
    <dgm:pt modelId="{9B6A1F89-7196-4FFC-B718-20D6200D3676}" type="pres">
      <dgm:prSet presAssocID="{BEA70360-30C1-4678-8C4F-2ABA5A709E1B}" presName="sibTrans" presStyleLbl="sibTrans2D1" presStyleIdx="1" presStyleCnt="2"/>
      <dgm:spPr/>
    </dgm:pt>
    <dgm:pt modelId="{7234FA54-4794-44D8-9A79-0A39E50977C8}" type="pres">
      <dgm:prSet presAssocID="{BEA70360-30C1-4678-8C4F-2ABA5A709E1B}" presName="connectorText" presStyleLbl="sibTrans2D1" presStyleIdx="1" presStyleCnt="2"/>
      <dgm:spPr/>
    </dgm:pt>
    <dgm:pt modelId="{314F861C-59D3-40AB-8A26-1F29DC4E8C8C}" type="pres">
      <dgm:prSet presAssocID="{4419AD08-7DE8-4465-A128-04FD7E3E966A}" presName="node" presStyleLbl="node1" presStyleIdx="2" presStyleCnt="3">
        <dgm:presLayoutVars>
          <dgm:bulletEnabled val="1"/>
        </dgm:presLayoutVars>
      </dgm:prSet>
      <dgm:spPr/>
    </dgm:pt>
  </dgm:ptLst>
  <dgm:cxnLst>
    <dgm:cxn modelId="{495FE305-F0CA-481C-9D90-7A1913054E60}" type="presOf" srcId="{BEA70360-30C1-4678-8C4F-2ABA5A709E1B}" destId="{7234FA54-4794-44D8-9A79-0A39E50977C8}" srcOrd="1" destOrd="0" presId="urn:microsoft.com/office/officeart/2005/8/layout/process1"/>
    <dgm:cxn modelId="{E8A3B410-B642-4F10-888D-DFFE2061B670}" srcId="{DA6DE43D-2878-4293-8DA8-D0A408FF3369}" destId="{88E1915F-9C2A-43E9-891D-B454BCA7505F}" srcOrd="1" destOrd="0" parTransId="{E0FD5AAC-E94B-4BAF-8B1E-E68311A3473D}" sibTransId="{BEA70360-30C1-4678-8C4F-2ABA5A709E1B}"/>
    <dgm:cxn modelId="{875D8130-8311-4A21-9C8E-BAF78019D55E}" type="presOf" srcId="{5BCF3BA6-5D89-4C04-9C62-0E8550BD877C}" destId="{314F861C-59D3-40AB-8A26-1F29DC4E8C8C}" srcOrd="0" destOrd="1" presId="urn:microsoft.com/office/officeart/2005/8/layout/process1"/>
    <dgm:cxn modelId="{02C3D361-95DD-4606-B19C-473D9E71F0EB}" type="presOf" srcId="{62791ED5-0645-4675-B4C5-6A6E6673C413}" destId="{B8C87AE5-049C-49ED-93B5-9B28AAC2D0D8}" srcOrd="0" destOrd="0" presId="urn:microsoft.com/office/officeart/2005/8/layout/process1"/>
    <dgm:cxn modelId="{42F63645-BB89-4281-94ED-A21E609EC052}" srcId="{DA6DE43D-2878-4293-8DA8-D0A408FF3369}" destId="{AD389900-4AA9-4DAB-A038-5FD64F4C449D}" srcOrd="0" destOrd="0" parTransId="{36BE5E7F-BDE6-4E84-938A-29E76A1BA3D2}" sibTransId="{62791ED5-0645-4675-B4C5-6A6E6673C413}"/>
    <dgm:cxn modelId="{396CD466-9B1A-4053-AC5D-D9C179756DF7}" type="presOf" srcId="{88E1915F-9C2A-43E9-891D-B454BCA7505F}" destId="{BB130FC0-D515-426F-96C7-F368CA7A25B6}" srcOrd="0" destOrd="0" presId="urn:microsoft.com/office/officeart/2005/8/layout/process1"/>
    <dgm:cxn modelId="{D65ECC50-C1F2-4B2C-A256-DA4663885260}" type="presOf" srcId="{4419AD08-7DE8-4465-A128-04FD7E3E966A}" destId="{314F861C-59D3-40AB-8A26-1F29DC4E8C8C}" srcOrd="0" destOrd="0" presId="urn:microsoft.com/office/officeart/2005/8/layout/process1"/>
    <dgm:cxn modelId="{9EC48093-71CA-4BDB-B1F1-5C01297B3AA7}" srcId="{4419AD08-7DE8-4465-A128-04FD7E3E966A}" destId="{5BCF3BA6-5D89-4C04-9C62-0E8550BD877C}" srcOrd="0" destOrd="0" parTransId="{BBB2275F-FC6C-4F9C-B09D-9EA0666E3E4C}" sibTransId="{CB55495C-0416-4EB5-B9B6-E3C03ABC251B}"/>
    <dgm:cxn modelId="{01C244A3-4082-46E1-9F94-057A0F9307A9}" type="presOf" srcId="{DA6DE43D-2878-4293-8DA8-D0A408FF3369}" destId="{84C49F70-1D23-4786-AB13-EEFFC8D68FCC}" srcOrd="0" destOrd="0" presId="urn:microsoft.com/office/officeart/2005/8/layout/process1"/>
    <dgm:cxn modelId="{D8F9E0D6-5ED7-48C0-8F10-F9920D0B04FF}" srcId="{DA6DE43D-2878-4293-8DA8-D0A408FF3369}" destId="{4419AD08-7DE8-4465-A128-04FD7E3E966A}" srcOrd="2" destOrd="0" parTransId="{286A94C6-47AD-4EF0-A80D-750BB6DF964C}" sibTransId="{D307C7A1-E1CD-4726-B504-630645485FB5}"/>
    <dgm:cxn modelId="{2A4E34DE-0F98-40E0-ACC3-44A326FC08FA}" type="presOf" srcId="{AD389900-4AA9-4DAB-A038-5FD64F4C449D}" destId="{B9DD0A7D-79F6-4DB4-8066-5AB460FE4E10}" srcOrd="0" destOrd="0" presId="urn:microsoft.com/office/officeart/2005/8/layout/process1"/>
    <dgm:cxn modelId="{873776E9-4745-4E1C-888C-1F455223E509}" type="presOf" srcId="{62791ED5-0645-4675-B4C5-6A6E6673C413}" destId="{C48882D6-6EC4-4477-B76E-44974D7F247A}" srcOrd="1" destOrd="0" presId="urn:microsoft.com/office/officeart/2005/8/layout/process1"/>
    <dgm:cxn modelId="{566362FD-C315-4404-A414-EA51D485AA62}" type="presOf" srcId="{BEA70360-30C1-4678-8C4F-2ABA5A709E1B}" destId="{9B6A1F89-7196-4FFC-B718-20D6200D3676}" srcOrd="0" destOrd="0" presId="urn:microsoft.com/office/officeart/2005/8/layout/process1"/>
    <dgm:cxn modelId="{0BB861CE-32CF-4DAC-AC53-431F0A36C446}" type="presParOf" srcId="{84C49F70-1D23-4786-AB13-EEFFC8D68FCC}" destId="{B9DD0A7D-79F6-4DB4-8066-5AB460FE4E10}" srcOrd="0" destOrd="0" presId="urn:microsoft.com/office/officeart/2005/8/layout/process1"/>
    <dgm:cxn modelId="{8EC136E4-55F2-4502-A5DB-F1F7100984A6}" type="presParOf" srcId="{84C49F70-1D23-4786-AB13-EEFFC8D68FCC}" destId="{B8C87AE5-049C-49ED-93B5-9B28AAC2D0D8}" srcOrd="1" destOrd="0" presId="urn:microsoft.com/office/officeart/2005/8/layout/process1"/>
    <dgm:cxn modelId="{373783C3-1C2F-48C0-9B96-4CCB982EDE90}" type="presParOf" srcId="{B8C87AE5-049C-49ED-93B5-9B28AAC2D0D8}" destId="{C48882D6-6EC4-4477-B76E-44974D7F247A}" srcOrd="0" destOrd="0" presId="urn:microsoft.com/office/officeart/2005/8/layout/process1"/>
    <dgm:cxn modelId="{6D6615A3-1F61-4DB9-A505-535549ABDA47}" type="presParOf" srcId="{84C49F70-1D23-4786-AB13-EEFFC8D68FCC}" destId="{BB130FC0-D515-426F-96C7-F368CA7A25B6}" srcOrd="2" destOrd="0" presId="urn:microsoft.com/office/officeart/2005/8/layout/process1"/>
    <dgm:cxn modelId="{65C3C922-C463-4A8D-8B4A-A7C1CF43F757}" type="presParOf" srcId="{84C49F70-1D23-4786-AB13-EEFFC8D68FCC}" destId="{9B6A1F89-7196-4FFC-B718-20D6200D3676}" srcOrd="3" destOrd="0" presId="urn:microsoft.com/office/officeart/2005/8/layout/process1"/>
    <dgm:cxn modelId="{583D3A74-A439-4CF6-A8B6-021732F8EB10}" type="presParOf" srcId="{9B6A1F89-7196-4FFC-B718-20D6200D3676}" destId="{7234FA54-4794-44D8-9A79-0A39E50977C8}" srcOrd="0" destOrd="0" presId="urn:microsoft.com/office/officeart/2005/8/layout/process1"/>
    <dgm:cxn modelId="{F81BF815-0AC7-4A99-8914-A6044A2C5F4D}" type="presParOf" srcId="{84C49F70-1D23-4786-AB13-EEFFC8D68FCC}" destId="{314F861C-59D3-40AB-8A26-1F29DC4E8C8C}"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718443C-C2B9-46D5-A19D-F1AE813DBD5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CAABFC0B-134E-4B9B-800F-F85615F89393}">
      <dgm:prSet/>
      <dgm:spPr/>
      <dgm:t>
        <a:bodyPr/>
        <a:lstStyle/>
        <a:p>
          <a:r>
            <a:rPr lang="en-US" baseline="0"/>
            <a:t>For example: </a:t>
          </a:r>
          <a:endParaRPr lang="en-US"/>
        </a:p>
      </dgm:t>
    </dgm:pt>
    <dgm:pt modelId="{C52E32DB-053C-436F-B126-985D852EC7C7}" type="parTrans" cxnId="{9355D7CC-6660-47C2-B001-BE37F8B9FEED}">
      <dgm:prSet/>
      <dgm:spPr/>
      <dgm:t>
        <a:bodyPr/>
        <a:lstStyle/>
        <a:p>
          <a:endParaRPr lang="en-US"/>
        </a:p>
      </dgm:t>
    </dgm:pt>
    <dgm:pt modelId="{64FB28C5-1047-4E9A-8C1B-DEAB9D937565}" type="sibTrans" cxnId="{9355D7CC-6660-47C2-B001-BE37F8B9FEED}">
      <dgm:prSet/>
      <dgm:spPr/>
      <dgm:t>
        <a:bodyPr/>
        <a:lstStyle/>
        <a:p>
          <a:endParaRPr lang="en-US"/>
        </a:p>
      </dgm:t>
    </dgm:pt>
    <dgm:pt modelId="{857F1B32-B2C3-4993-9D5A-58DE9329DBB8}">
      <dgm:prSet/>
      <dgm:spPr/>
      <dgm:t>
        <a:bodyPr/>
        <a:lstStyle/>
        <a:p>
          <a:r>
            <a:rPr lang="en-US" baseline="0"/>
            <a:t>Add-SPOTenantCdnOrigin -CdnType Public -OriginUrl */masterpage</a:t>
          </a:r>
          <a:endParaRPr lang="en-US"/>
        </a:p>
      </dgm:t>
    </dgm:pt>
    <dgm:pt modelId="{01F5380D-1731-4C29-90BA-DBB2E998734C}" type="parTrans" cxnId="{15626F97-7D8D-424D-960F-B4E639891D95}">
      <dgm:prSet/>
      <dgm:spPr/>
      <dgm:t>
        <a:bodyPr/>
        <a:lstStyle/>
        <a:p>
          <a:endParaRPr lang="en-US"/>
        </a:p>
      </dgm:t>
    </dgm:pt>
    <dgm:pt modelId="{BA888551-6F0F-4B4A-BDD5-42B1D7BDC159}" type="sibTrans" cxnId="{15626F97-7D8D-424D-960F-B4E639891D95}">
      <dgm:prSet/>
      <dgm:spPr/>
      <dgm:t>
        <a:bodyPr/>
        <a:lstStyle/>
        <a:p>
          <a:endParaRPr lang="en-US"/>
        </a:p>
      </dgm:t>
    </dgm:pt>
    <dgm:pt modelId="{313134E7-951E-4093-AED0-F82F04348B61}">
      <dgm:prSet/>
      <dgm:spPr/>
      <dgm:t>
        <a:bodyPr/>
        <a:lstStyle/>
        <a:p>
          <a:r>
            <a:rPr lang="en-US" baseline="0"/>
            <a:t>Add-SPOTenantCdnOrigin -CdnType Private -OriginUrl */publishingimages</a:t>
          </a:r>
          <a:endParaRPr lang="en-US"/>
        </a:p>
      </dgm:t>
    </dgm:pt>
    <dgm:pt modelId="{8A4F90C3-189D-4CF5-A016-9E37B9BA0393}" type="parTrans" cxnId="{D5B14290-B7BE-4408-87C5-CD78E1EAFDC1}">
      <dgm:prSet/>
      <dgm:spPr/>
      <dgm:t>
        <a:bodyPr/>
        <a:lstStyle/>
        <a:p>
          <a:endParaRPr lang="en-US"/>
        </a:p>
      </dgm:t>
    </dgm:pt>
    <dgm:pt modelId="{0B09223C-E338-4A1E-A1D1-86B3BF64C4EE}" type="sibTrans" cxnId="{D5B14290-B7BE-4408-87C5-CD78E1EAFDC1}">
      <dgm:prSet/>
      <dgm:spPr/>
      <dgm:t>
        <a:bodyPr/>
        <a:lstStyle/>
        <a:p>
          <a:endParaRPr lang="en-US"/>
        </a:p>
      </dgm:t>
    </dgm:pt>
    <dgm:pt modelId="{852A98FD-76D6-41A4-98B6-C1D44C796832}">
      <dgm:prSet/>
      <dgm:spPr/>
      <dgm:t>
        <a:bodyPr/>
        <a:lstStyle/>
        <a:p>
          <a:r>
            <a:rPr lang="en-US" baseline="0"/>
            <a:t>You can also define a site collection as a private origin</a:t>
          </a:r>
          <a:endParaRPr lang="en-US"/>
        </a:p>
      </dgm:t>
    </dgm:pt>
    <dgm:pt modelId="{AE777262-1207-4F4D-8A0D-FD23D86D1E93}" type="parTrans" cxnId="{5B40DF84-5D96-4698-84AD-ACB3D582DB8B}">
      <dgm:prSet/>
      <dgm:spPr/>
      <dgm:t>
        <a:bodyPr/>
        <a:lstStyle/>
        <a:p>
          <a:endParaRPr lang="en-US"/>
        </a:p>
      </dgm:t>
    </dgm:pt>
    <dgm:pt modelId="{88DAE8F5-56AD-4BC2-927E-59B5C16F96D5}" type="sibTrans" cxnId="{5B40DF84-5D96-4698-84AD-ACB3D582DB8B}">
      <dgm:prSet/>
      <dgm:spPr/>
      <dgm:t>
        <a:bodyPr/>
        <a:lstStyle/>
        <a:p>
          <a:endParaRPr lang="en-US"/>
        </a:p>
      </dgm:t>
    </dgm:pt>
    <dgm:pt modelId="{D8236B77-8C18-4328-97D0-6DC2E686F414}">
      <dgm:prSet/>
      <dgm:spPr/>
      <dgm:t>
        <a:bodyPr/>
        <a:lstStyle/>
        <a:p>
          <a:r>
            <a:rPr lang="en-US" baseline="0"/>
            <a:t>Add-SPOTenantCdnOrigin -CdnType Private -OriginUrl sites/site1/siteassets</a:t>
          </a:r>
          <a:endParaRPr lang="en-US"/>
        </a:p>
      </dgm:t>
    </dgm:pt>
    <dgm:pt modelId="{94C61486-9CDB-411F-BC67-D1756A26FB45}" type="parTrans" cxnId="{50F64A6F-52C8-4F6E-B757-46BFF2DF1427}">
      <dgm:prSet/>
      <dgm:spPr/>
      <dgm:t>
        <a:bodyPr/>
        <a:lstStyle/>
        <a:p>
          <a:endParaRPr lang="en-US"/>
        </a:p>
      </dgm:t>
    </dgm:pt>
    <dgm:pt modelId="{D749BFFE-B048-4F0D-80B4-BA9648E47F6D}" type="sibTrans" cxnId="{50F64A6F-52C8-4F6E-B757-46BFF2DF1427}">
      <dgm:prSet/>
      <dgm:spPr/>
      <dgm:t>
        <a:bodyPr/>
        <a:lstStyle/>
        <a:p>
          <a:endParaRPr lang="en-US"/>
        </a:p>
      </dgm:t>
    </dgm:pt>
    <dgm:pt modelId="{69E523ED-A7DD-4ED9-95B7-D8429C760698}" type="pres">
      <dgm:prSet presAssocID="{3718443C-C2B9-46D5-A19D-F1AE813DBD5B}" presName="vert0" presStyleCnt="0">
        <dgm:presLayoutVars>
          <dgm:dir/>
          <dgm:animOne val="branch"/>
          <dgm:animLvl val="lvl"/>
        </dgm:presLayoutVars>
      </dgm:prSet>
      <dgm:spPr/>
    </dgm:pt>
    <dgm:pt modelId="{85FE6601-3FD9-46B6-A11B-2CC509D94637}" type="pres">
      <dgm:prSet presAssocID="{CAABFC0B-134E-4B9B-800F-F85615F89393}" presName="thickLine" presStyleLbl="alignNode1" presStyleIdx="0" presStyleCnt="5"/>
      <dgm:spPr/>
    </dgm:pt>
    <dgm:pt modelId="{6CFC0539-133A-43AD-AD4D-68D0432E65F9}" type="pres">
      <dgm:prSet presAssocID="{CAABFC0B-134E-4B9B-800F-F85615F89393}" presName="horz1" presStyleCnt="0"/>
      <dgm:spPr/>
    </dgm:pt>
    <dgm:pt modelId="{F9519DEB-EEC7-4295-84C4-86F531377013}" type="pres">
      <dgm:prSet presAssocID="{CAABFC0B-134E-4B9B-800F-F85615F89393}" presName="tx1" presStyleLbl="revTx" presStyleIdx="0" presStyleCnt="5"/>
      <dgm:spPr/>
    </dgm:pt>
    <dgm:pt modelId="{9281C95D-82E2-465E-BF19-5EF817932FAC}" type="pres">
      <dgm:prSet presAssocID="{CAABFC0B-134E-4B9B-800F-F85615F89393}" presName="vert1" presStyleCnt="0"/>
      <dgm:spPr/>
    </dgm:pt>
    <dgm:pt modelId="{8172A1BD-A056-4D79-82EB-0477D654CD75}" type="pres">
      <dgm:prSet presAssocID="{857F1B32-B2C3-4993-9D5A-58DE9329DBB8}" presName="thickLine" presStyleLbl="alignNode1" presStyleIdx="1" presStyleCnt="5"/>
      <dgm:spPr/>
    </dgm:pt>
    <dgm:pt modelId="{10CF5F03-E0DE-4BE7-8A68-4647E5913510}" type="pres">
      <dgm:prSet presAssocID="{857F1B32-B2C3-4993-9D5A-58DE9329DBB8}" presName="horz1" presStyleCnt="0"/>
      <dgm:spPr/>
    </dgm:pt>
    <dgm:pt modelId="{1416DF77-268D-4E6C-8A63-F642D4799B17}" type="pres">
      <dgm:prSet presAssocID="{857F1B32-B2C3-4993-9D5A-58DE9329DBB8}" presName="tx1" presStyleLbl="revTx" presStyleIdx="1" presStyleCnt="5"/>
      <dgm:spPr/>
    </dgm:pt>
    <dgm:pt modelId="{8841E407-CDF5-4CB1-9B25-2A19DCF21732}" type="pres">
      <dgm:prSet presAssocID="{857F1B32-B2C3-4993-9D5A-58DE9329DBB8}" presName="vert1" presStyleCnt="0"/>
      <dgm:spPr/>
    </dgm:pt>
    <dgm:pt modelId="{B021643C-D2C7-4358-A519-A39D51499F3F}" type="pres">
      <dgm:prSet presAssocID="{313134E7-951E-4093-AED0-F82F04348B61}" presName="thickLine" presStyleLbl="alignNode1" presStyleIdx="2" presStyleCnt="5"/>
      <dgm:spPr/>
    </dgm:pt>
    <dgm:pt modelId="{579EFF31-6C45-42EA-897E-6B07CDF647F2}" type="pres">
      <dgm:prSet presAssocID="{313134E7-951E-4093-AED0-F82F04348B61}" presName="horz1" presStyleCnt="0"/>
      <dgm:spPr/>
    </dgm:pt>
    <dgm:pt modelId="{D50056B4-3D15-4F45-9363-C9C841E64E55}" type="pres">
      <dgm:prSet presAssocID="{313134E7-951E-4093-AED0-F82F04348B61}" presName="tx1" presStyleLbl="revTx" presStyleIdx="2" presStyleCnt="5"/>
      <dgm:spPr/>
    </dgm:pt>
    <dgm:pt modelId="{6CA240E5-AD42-46CA-8CA8-0D41C59CF090}" type="pres">
      <dgm:prSet presAssocID="{313134E7-951E-4093-AED0-F82F04348B61}" presName="vert1" presStyleCnt="0"/>
      <dgm:spPr/>
    </dgm:pt>
    <dgm:pt modelId="{379701AE-1082-4689-B60E-91A7B0F02EB8}" type="pres">
      <dgm:prSet presAssocID="{852A98FD-76D6-41A4-98B6-C1D44C796832}" presName="thickLine" presStyleLbl="alignNode1" presStyleIdx="3" presStyleCnt="5"/>
      <dgm:spPr/>
    </dgm:pt>
    <dgm:pt modelId="{9EAF2C48-51A9-43BF-888A-C8400B022BCD}" type="pres">
      <dgm:prSet presAssocID="{852A98FD-76D6-41A4-98B6-C1D44C796832}" presName="horz1" presStyleCnt="0"/>
      <dgm:spPr/>
    </dgm:pt>
    <dgm:pt modelId="{A0BE7067-9EAE-44F9-B430-B20CC9AA8150}" type="pres">
      <dgm:prSet presAssocID="{852A98FD-76D6-41A4-98B6-C1D44C796832}" presName="tx1" presStyleLbl="revTx" presStyleIdx="3" presStyleCnt="5"/>
      <dgm:spPr/>
    </dgm:pt>
    <dgm:pt modelId="{1B8FF1A8-9C16-4246-9798-F9BE53D5CAE0}" type="pres">
      <dgm:prSet presAssocID="{852A98FD-76D6-41A4-98B6-C1D44C796832}" presName="vert1" presStyleCnt="0"/>
      <dgm:spPr/>
    </dgm:pt>
    <dgm:pt modelId="{31016602-9C5F-437D-BCEF-CB3E9871A8D4}" type="pres">
      <dgm:prSet presAssocID="{D8236B77-8C18-4328-97D0-6DC2E686F414}" presName="thickLine" presStyleLbl="alignNode1" presStyleIdx="4" presStyleCnt="5"/>
      <dgm:spPr/>
    </dgm:pt>
    <dgm:pt modelId="{1CEFA01B-E31B-4805-A016-887D5419019B}" type="pres">
      <dgm:prSet presAssocID="{D8236B77-8C18-4328-97D0-6DC2E686F414}" presName="horz1" presStyleCnt="0"/>
      <dgm:spPr/>
    </dgm:pt>
    <dgm:pt modelId="{AD08DE00-B115-4FE3-847F-E719E14E7B85}" type="pres">
      <dgm:prSet presAssocID="{D8236B77-8C18-4328-97D0-6DC2E686F414}" presName="tx1" presStyleLbl="revTx" presStyleIdx="4" presStyleCnt="5"/>
      <dgm:spPr/>
    </dgm:pt>
    <dgm:pt modelId="{BDDDA5CE-16E0-47C1-B932-95E4A14844CF}" type="pres">
      <dgm:prSet presAssocID="{D8236B77-8C18-4328-97D0-6DC2E686F414}" presName="vert1" presStyleCnt="0"/>
      <dgm:spPr/>
    </dgm:pt>
  </dgm:ptLst>
  <dgm:cxnLst>
    <dgm:cxn modelId="{763C0712-B21B-4812-8103-EF9DE2464E6A}" type="presOf" srcId="{3718443C-C2B9-46D5-A19D-F1AE813DBD5B}" destId="{69E523ED-A7DD-4ED9-95B7-D8429C760698}" srcOrd="0" destOrd="0" presId="urn:microsoft.com/office/officeart/2008/layout/LinedList"/>
    <dgm:cxn modelId="{76FBA06C-D6D5-4871-90E9-2D7BB3568C65}" type="presOf" srcId="{313134E7-951E-4093-AED0-F82F04348B61}" destId="{D50056B4-3D15-4F45-9363-C9C841E64E55}" srcOrd="0" destOrd="0" presId="urn:microsoft.com/office/officeart/2008/layout/LinedList"/>
    <dgm:cxn modelId="{50F64A6F-52C8-4F6E-B757-46BFF2DF1427}" srcId="{3718443C-C2B9-46D5-A19D-F1AE813DBD5B}" destId="{D8236B77-8C18-4328-97D0-6DC2E686F414}" srcOrd="4" destOrd="0" parTransId="{94C61486-9CDB-411F-BC67-D1756A26FB45}" sibTransId="{D749BFFE-B048-4F0D-80B4-BA9648E47F6D}"/>
    <dgm:cxn modelId="{8F27D770-16AF-455A-9B53-E9489719671A}" type="presOf" srcId="{852A98FD-76D6-41A4-98B6-C1D44C796832}" destId="{A0BE7067-9EAE-44F9-B430-B20CC9AA8150}" srcOrd="0" destOrd="0" presId="urn:microsoft.com/office/officeart/2008/layout/LinedList"/>
    <dgm:cxn modelId="{8A338B79-D669-4E1D-99D1-64EC8D6E76E9}" type="presOf" srcId="{857F1B32-B2C3-4993-9D5A-58DE9329DBB8}" destId="{1416DF77-268D-4E6C-8A63-F642D4799B17}" srcOrd="0" destOrd="0" presId="urn:microsoft.com/office/officeart/2008/layout/LinedList"/>
    <dgm:cxn modelId="{5B40DF84-5D96-4698-84AD-ACB3D582DB8B}" srcId="{3718443C-C2B9-46D5-A19D-F1AE813DBD5B}" destId="{852A98FD-76D6-41A4-98B6-C1D44C796832}" srcOrd="3" destOrd="0" parTransId="{AE777262-1207-4F4D-8A0D-FD23D86D1E93}" sibTransId="{88DAE8F5-56AD-4BC2-927E-59B5C16F96D5}"/>
    <dgm:cxn modelId="{D5B14290-B7BE-4408-87C5-CD78E1EAFDC1}" srcId="{3718443C-C2B9-46D5-A19D-F1AE813DBD5B}" destId="{313134E7-951E-4093-AED0-F82F04348B61}" srcOrd="2" destOrd="0" parTransId="{8A4F90C3-189D-4CF5-A016-9E37B9BA0393}" sibTransId="{0B09223C-E338-4A1E-A1D1-86B3BF64C4EE}"/>
    <dgm:cxn modelId="{15626F97-7D8D-424D-960F-B4E639891D95}" srcId="{3718443C-C2B9-46D5-A19D-F1AE813DBD5B}" destId="{857F1B32-B2C3-4993-9D5A-58DE9329DBB8}" srcOrd="1" destOrd="0" parTransId="{01F5380D-1731-4C29-90BA-DBB2E998734C}" sibTransId="{BA888551-6F0F-4B4A-BDD5-42B1D7BDC159}"/>
    <dgm:cxn modelId="{9D419BB8-2B1E-4640-BD8D-2B8DF0B2870A}" type="presOf" srcId="{CAABFC0B-134E-4B9B-800F-F85615F89393}" destId="{F9519DEB-EEC7-4295-84C4-86F531377013}" srcOrd="0" destOrd="0" presId="urn:microsoft.com/office/officeart/2008/layout/LinedList"/>
    <dgm:cxn modelId="{9355D7CC-6660-47C2-B001-BE37F8B9FEED}" srcId="{3718443C-C2B9-46D5-A19D-F1AE813DBD5B}" destId="{CAABFC0B-134E-4B9B-800F-F85615F89393}" srcOrd="0" destOrd="0" parTransId="{C52E32DB-053C-436F-B126-985D852EC7C7}" sibTransId="{64FB28C5-1047-4E9A-8C1B-DEAB9D937565}"/>
    <dgm:cxn modelId="{8F9A6CDB-BA08-4D22-B42D-C50FFB3B67F8}" type="presOf" srcId="{D8236B77-8C18-4328-97D0-6DC2E686F414}" destId="{AD08DE00-B115-4FE3-847F-E719E14E7B85}" srcOrd="0" destOrd="0" presId="urn:microsoft.com/office/officeart/2008/layout/LinedList"/>
    <dgm:cxn modelId="{5EA35FAB-3AF5-4389-9375-D86FC967F7E8}" type="presParOf" srcId="{69E523ED-A7DD-4ED9-95B7-D8429C760698}" destId="{85FE6601-3FD9-46B6-A11B-2CC509D94637}" srcOrd="0" destOrd="0" presId="urn:microsoft.com/office/officeart/2008/layout/LinedList"/>
    <dgm:cxn modelId="{046D705B-C1EB-4B6C-9B91-5492CB7A8B20}" type="presParOf" srcId="{69E523ED-A7DD-4ED9-95B7-D8429C760698}" destId="{6CFC0539-133A-43AD-AD4D-68D0432E65F9}" srcOrd="1" destOrd="0" presId="urn:microsoft.com/office/officeart/2008/layout/LinedList"/>
    <dgm:cxn modelId="{C1EEA407-9CA6-4968-98D6-08155C3EBD49}" type="presParOf" srcId="{6CFC0539-133A-43AD-AD4D-68D0432E65F9}" destId="{F9519DEB-EEC7-4295-84C4-86F531377013}" srcOrd="0" destOrd="0" presId="urn:microsoft.com/office/officeart/2008/layout/LinedList"/>
    <dgm:cxn modelId="{AD92F8D7-7AA6-48AE-B793-0FE1D1BEF0E3}" type="presParOf" srcId="{6CFC0539-133A-43AD-AD4D-68D0432E65F9}" destId="{9281C95D-82E2-465E-BF19-5EF817932FAC}" srcOrd="1" destOrd="0" presId="urn:microsoft.com/office/officeart/2008/layout/LinedList"/>
    <dgm:cxn modelId="{ECF86DC2-4904-42D9-9C39-4EAD60AF2D4C}" type="presParOf" srcId="{69E523ED-A7DD-4ED9-95B7-D8429C760698}" destId="{8172A1BD-A056-4D79-82EB-0477D654CD75}" srcOrd="2" destOrd="0" presId="urn:microsoft.com/office/officeart/2008/layout/LinedList"/>
    <dgm:cxn modelId="{704EDCA0-73AA-4FA6-87E5-0EE192FE28B5}" type="presParOf" srcId="{69E523ED-A7DD-4ED9-95B7-D8429C760698}" destId="{10CF5F03-E0DE-4BE7-8A68-4647E5913510}" srcOrd="3" destOrd="0" presId="urn:microsoft.com/office/officeart/2008/layout/LinedList"/>
    <dgm:cxn modelId="{80C54432-382E-43A5-81CB-C1947DC6075B}" type="presParOf" srcId="{10CF5F03-E0DE-4BE7-8A68-4647E5913510}" destId="{1416DF77-268D-4E6C-8A63-F642D4799B17}" srcOrd="0" destOrd="0" presId="urn:microsoft.com/office/officeart/2008/layout/LinedList"/>
    <dgm:cxn modelId="{B5791F61-D109-49A5-8105-F26478F90631}" type="presParOf" srcId="{10CF5F03-E0DE-4BE7-8A68-4647E5913510}" destId="{8841E407-CDF5-4CB1-9B25-2A19DCF21732}" srcOrd="1" destOrd="0" presId="urn:microsoft.com/office/officeart/2008/layout/LinedList"/>
    <dgm:cxn modelId="{FFD21B45-3A2D-415D-98CB-FBBA8B97C0C2}" type="presParOf" srcId="{69E523ED-A7DD-4ED9-95B7-D8429C760698}" destId="{B021643C-D2C7-4358-A519-A39D51499F3F}" srcOrd="4" destOrd="0" presId="urn:microsoft.com/office/officeart/2008/layout/LinedList"/>
    <dgm:cxn modelId="{90144E5A-629E-4CC3-8F27-04EE1C03C264}" type="presParOf" srcId="{69E523ED-A7DD-4ED9-95B7-D8429C760698}" destId="{579EFF31-6C45-42EA-897E-6B07CDF647F2}" srcOrd="5" destOrd="0" presId="urn:microsoft.com/office/officeart/2008/layout/LinedList"/>
    <dgm:cxn modelId="{34A7451B-81E5-425F-8BED-3491DCEDBE8E}" type="presParOf" srcId="{579EFF31-6C45-42EA-897E-6B07CDF647F2}" destId="{D50056B4-3D15-4F45-9363-C9C841E64E55}" srcOrd="0" destOrd="0" presId="urn:microsoft.com/office/officeart/2008/layout/LinedList"/>
    <dgm:cxn modelId="{A0B122B6-5CC7-4832-9719-42217E7B0C55}" type="presParOf" srcId="{579EFF31-6C45-42EA-897E-6B07CDF647F2}" destId="{6CA240E5-AD42-46CA-8CA8-0D41C59CF090}" srcOrd="1" destOrd="0" presId="urn:microsoft.com/office/officeart/2008/layout/LinedList"/>
    <dgm:cxn modelId="{25F2DD4F-CC85-4C7A-9E93-09A0D6584E25}" type="presParOf" srcId="{69E523ED-A7DD-4ED9-95B7-D8429C760698}" destId="{379701AE-1082-4689-B60E-91A7B0F02EB8}" srcOrd="6" destOrd="0" presId="urn:microsoft.com/office/officeart/2008/layout/LinedList"/>
    <dgm:cxn modelId="{16AA8D9D-8E5C-4517-A86D-08E6455827CF}" type="presParOf" srcId="{69E523ED-A7DD-4ED9-95B7-D8429C760698}" destId="{9EAF2C48-51A9-43BF-888A-C8400B022BCD}" srcOrd="7" destOrd="0" presId="urn:microsoft.com/office/officeart/2008/layout/LinedList"/>
    <dgm:cxn modelId="{C8D158E7-58BE-4009-9F8D-5EAFD6F7BABE}" type="presParOf" srcId="{9EAF2C48-51A9-43BF-888A-C8400B022BCD}" destId="{A0BE7067-9EAE-44F9-B430-B20CC9AA8150}" srcOrd="0" destOrd="0" presId="urn:microsoft.com/office/officeart/2008/layout/LinedList"/>
    <dgm:cxn modelId="{1686DA70-A2DB-486F-9E59-60CA1946AE48}" type="presParOf" srcId="{9EAF2C48-51A9-43BF-888A-C8400B022BCD}" destId="{1B8FF1A8-9C16-4246-9798-F9BE53D5CAE0}" srcOrd="1" destOrd="0" presId="urn:microsoft.com/office/officeart/2008/layout/LinedList"/>
    <dgm:cxn modelId="{AC68BFD1-F8B7-48FB-88C3-EA45FC30005E}" type="presParOf" srcId="{69E523ED-A7DD-4ED9-95B7-D8429C760698}" destId="{31016602-9C5F-437D-BCEF-CB3E9871A8D4}" srcOrd="8" destOrd="0" presId="urn:microsoft.com/office/officeart/2008/layout/LinedList"/>
    <dgm:cxn modelId="{ADF65058-B75A-4112-A306-3E59EC56FBB5}" type="presParOf" srcId="{69E523ED-A7DD-4ED9-95B7-D8429C760698}" destId="{1CEFA01B-E31B-4805-A016-887D5419019B}" srcOrd="9" destOrd="0" presId="urn:microsoft.com/office/officeart/2008/layout/LinedList"/>
    <dgm:cxn modelId="{DD4E9860-38C4-4BAE-8830-68DA2E96BFAB}" type="presParOf" srcId="{1CEFA01B-E31B-4805-A016-887D5419019B}" destId="{AD08DE00-B115-4FE3-847F-E719E14E7B85}" srcOrd="0" destOrd="0" presId="urn:microsoft.com/office/officeart/2008/layout/LinedList"/>
    <dgm:cxn modelId="{5FD919EA-449C-4A27-B6A7-BAD5E0C62956}" type="presParOf" srcId="{1CEFA01B-E31B-4805-A016-887D5419019B}" destId="{BDDDA5CE-16E0-47C1-B932-95E4A14844CF}"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A9F3F46-E026-41CA-92BC-27117A753EC6}" type="doc">
      <dgm:prSet loTypeId="urn:microsoft.com/office/officeart/2005/8/layout/vProcess5" loCatId="process" qsTypeId="urn:microsoft.com/office/officeart/2005/8/quickstyle/simple5" qsCatId="simple" csTypeId="urn:microsoft.com/office/officeart/2005/8/colors/accent2_2" csCatId="accent2"/>
      <dgm:spPr/>
      <dgm:t>
        <a:bodyPr/>
        <a:lstStyle/>
        <a:p>
          <a:endParaRPr lang="en-US"/>
        </a:p>
      </dgm:t>
    </dgm:pt>
    <dgm:pt modelId="{97AA953B-0CC0-4DD1-B3CB-1920B9080A37}">
      <dgm:prSet/>
      <dgm:spPr/>
      <dgm:t>
        <a:bodyPr/>
        <a:lstStyle/>
        <a:p>
          <a:r>
            <a:rPr lang="en-US" dirty="0"/>
            <a:t>Use the Set-</a:t>
          </a:r>
          <a:r>
            <a:rPr lang="en-US" dirty="0" err="1"/>
            <a:t>SPOTenantCdnPolicy</a:t>
          </a:r>
          <a:r>
            <a:rPr lang="en-US" dirty="0"/>
            <a:t> cmdlet to define static file types that can be hosted by public and private origins in the CDN. By default, common asset types are allowed, for example .</a:t>
          </a:r>
          <a:r>
            <a:rPr lang="en-US" dirty="0" err="1"/>
            <a:t>css</a:t>
          </a:r>
          <a:r>
            <a:rPr lang="en-US" dirty="0"/>
            <a:t>, .gif, .jpg, and .</a:t>
          </a:r>
          <a:r>
            <a:rPr lang="en-US" dirty="0" err="1"/>
            <a:t>js</a:t>
          </a:r>
          <a:r>
            <a:rPr lang="en-US" dirty="0"/>
            <a:t>.</a:t>
          </a:r>
        </a:p>
      </dgm:t>
    </dgm:pt>
    <dgm:pt modelId="{D41957C2-6B28-49DD-A691-6BB5264800E4}" type="parTrans" cxnId="{AF5C0ABD-B8A8-4B7A-A80F-C0367E2DD2EB}">
      <dgm:prSet/>
      <dgm:spPr/>
      <dgm:t>
        <a:bodyPr/>
        <a:lstStyle/>
        <a:p>
          <a:endParaRPr lang="en-US"/>
        </a:p>
      </dgm:t>
    </dgm:pt>
    <dgm:pt modelId="{A0ADC3AE-ACC7-4084-9AB1-668490D9C491}" type="sibTrans" cxnId="{AF5C0ABD-B8A8-4B7A-A80F-C0367E2DD2EB}">
      <dgm:prSet/>
      <dgm:spPr/>
      <dgm:t>
        <a:bodyPr/>
        <a:lstStyle/>
        <a:p>
          <a:endParaRPr lang="en-US"/>
        </a:p>
      </dgm:t>
    </dgm:pt>
    <dgm:pt modelId="{B184AF10-AC54-4421-B13F-5C068A38B410}">
      <dgm:prSet/>
      <dgm:spPr/>
      <dgm:t>
        <a:bodyPr/>
        <a:lstStyle/>
        <a:p>
          <a:r>
            <a:rPr lang="en-US"/>
            <a:t>Set-SPOTenantCdnPolicy -CdnType &lt;Public | Private&gt; -PolicyType IncludeFileExtensions -PolicyValue "&lt;Comma-separated list of file types &gt;"</a:t>
          </a:r>
        </a:p>
      </dgm:t>
    </dgm:pt>
    <dgm:pt modelId="{303F444E-7235-4307-8E86-C07CF5B6538E}" type="parTrans" cxnId="{DDB827AB-80D4-4062-BC83-13478B0A7A84}">
      <dgm:prSet/>
      <dgm:spPr/>
      <dgm:t>
        <a:bodyPr/>
        <a:lstStyle/>
        <a:p>
          <a:endParaRPr lang="en-US"/>
        </a:p>
      </dgm:t>
    </dgm:pt>
    <dgm:pt modelId="{9AB80335-6981-4B85-B837-C6F87EC8B22D}" type="sibTrans" cxnId="{DDB827AB-80D4-4062-BC83-13478B0A7A84}">
      <dgm:prSet/>
      <dgm:spPr/>
      <dgm:t>
        <a:bodyPr/>
        <a:lstStyle/>
        <a:p>
          <a:endParaRPr lang="en-US"/>
        </a:p>
      </dgm:t>
    </dgm:pt>
    <dgm:pt modelId="{6EF2B028-310F-440E-A55E-E70188AC15BB}">
      <dgm:prSet/>
      <dgm:spPr/>
      <dgm:t>
        <a:bodyPr/>
        <a:lstStyle/>
        <a:p>
          <a:r>
            <a:rPr lang="en-US"/>
            <a:t>When you define file types by using the Set-SPOTenantCdnPolicy cmdlet, you overwrite the currently defined list. If you want to add additional file types to the list, use the cmdlet first to find out what file types are already allowed and include them in the list along with your new ones.</a:t>
          </a:r>
        </a:p>
      </dgm:t>
    </dgm:pt>
    <dgm:pt modelId="{7FBED7C7-7050-41F6-B4F3-CC7D645C7102}" type="parTrans" cxnId="{EC6778E9-3F3B-40A9-879E-B7A88E0BD407}">
      <dgm:prSet/>
      <dgm:spPr/>
      <dgm:t>
        <a:bodyPr/>
        <a:lstStyle/>
        <a:p>
          <a:endParaRPr lang="en-US"/>
        </a:p>
      </dgm:t>
    </dgm:pt>
    <dgm:pt modelId="{DCAC64EB-B66F-442E-9489-CA3ABAD86AC9}" type="sibTrans" cxnId="{EC6778E9-3F3B-40A9-879E-B7A88E0BD407}">
      <dgm:prSet/>
      <dgm:spPr/>
      <dgm:t>
        <a:bodyPr/>
        <a:lstStyle/>
        <a:p>
          <a:endParaRPr lang="en-US"/>
        </a:p>
      </dgm:t>
    </dgm:pt>
    <dgm:pt modelId="{7768F9C8-45CF-4502-9742-F358E7D9A101}">
      <dgm:prSet/>
      <dgm:spPr/>
      <dgm:t>
        <a:bodyPr/>
        <a:lstStyle/>
        <a:p>
          <a:r>
            <a:rPr lang="en-US"/>
            <a:t>Get-SPOTenantCdnPolicies -CdnType &lt;Public | Private&gt;</a:t>
          </a:r>
        </a:p>
      </dgm:t>
    </dgm:pt>
    <dgm:pt modelId="{EC084C2B-ED27-45D0-BC97-219640B73A6E}" type="parTrans" cxnId="{F7375C6F-C9C8-4031-88BB-3EC403ADCEE3}">
      <dgm:prSet/>
      <dgm:spPr/>
      <dgm:t>
        <a:bodyPr/>
        <a:lstStyle/>
        <a:p>
          <a:endParaRPr lang="en-US"/>
        </a:p>
      </dgm:t>
    </dgm:pt>
    <dgm:pt modelId="{492995AD-5AAB-4FED-8990-583E303EA686}" type="sibTrans" cxnId="{F7375C6F-C9C8-4031-88BB-3EC403ADCEE3}">
      <dgm:prSet/>
      <dgm:spPr/>
      <dgm:t>
        <a:bodyPr/>
        <a:lstStyle/>
        <a:p>
          <a:endParaRPr lang="en-US"/>
        </a:p>
      </dgm:t>
    </dgm:pt>
    <dgm:pt modelId="{AA30C484-4301-4B25-AC19-8129CD2F3697}" type="pres">
      <dgm:prSet presAssocID="{7A9F3F46-E026-41CA-92BC-27117A753EC6}" presName="outerComposite" presStyleCnt="0">
        <dgm:presLayoutVars>
          <dgm:chMax val="5"/>
          <dgm:dir/>
          <dgm:resizeHandles val="exact"/>
        </dgm:presLayoutVars>
      </dgm:prSet>
      <dgm:spPr/>
    </dgm:pt>
    <dgm:pt modelId="{16B58A93-F896-4F92-A696-926B07CBF87F}" type="pres">
      <dgm:prSet presAssocID="{7A9F3F46-E026-41CA-92BC-27117A753EC6}" presName="dummyMaxCanvas" presStyleCnt="0">
        <dgm:presLayoutVars/>
      </dgm:prSet>
      <dgm:spPr/>
    </dgm:pt>
    <dgm:pt modelId="{403728D2-BE07-42D7-BBFE-A8F805D611E2}" type="pres">
      <dgm:prSet presAssocID="{7A9F3F46-E026-41CA-92BC-27117A753EC6}" presName="FourNodes_1" presStyleLbl="node1" presStyleIdx="0" presStyleCnt="4">
        <dgm:presLayoutVars>
          <dgm:bulletEnabled val="1"/>
        </dgm:presLayoutVars>
      </dgm:prSet>
      <dgm:spPr/>
    </dgm:pt>
    <dgm:pt modelId="{AC4DC9FE-1AE7-46A2-B77A-C3E623202190}" type="pres">
      <dgm:prSet presAssocID="{7A9F3F46-E026-41CA-92BC-27117A753EC6}" presName="FourNodes_2" presStyleLbl="node1" presStyleIdx="1" presStyleCnt="4">
        <dgm:presLayoutVars>
          <dgm:bulletEnabled val="1"/>
        </dgm:presLayoutVars>
      </dgm:prSet>
      <dgm:spPr/>
    </dgm:pt>
    <dgm:pt modelId="{3836D900-1855-40D9-99B4-AF28485E4EB9}" type="pres">
      <dgm:prSet presAssocID="{7A9F3F46-E026-41CA-92BC-27117A753EC6}" presName="FourNodes_3" presStyleLbl="node1" presStyleIdx="2" presStyleCnt="4">
        <dgm:presLayoutVars>
          <dgm:bulletEnabled val="1"/>
        </dgm:presLayoutVars>
      </dgm:prSet>
      <dgm:spPr/>
    </dgm:pt>
    <dgm:pt modelId="{3EAD8F9A-6541-4EFF-A952-57D3ED87D94B}" type="pres">
      <dgm:prSet presAssocID="{7A9F3F46-E026-41CA-92BC-27117A753EC6}" presName="FourNodes_4" presStyleLbl="node1" presStyleIdx="3" presStyleCnt="4">
        <dgm:presLayoutVars>
          <dgm:bulletEnabled val="1"/>
        </dgm:presLayoutVars>
      </dgm:prSet>
      <dgm:spPr/>
    </dgm:pt>
    <dgm:pt modelId="{60E64526-2307-4CF6-A6F2-28432988F694}" type="pres">
      <dgm:prSet presAssocID="{7A9F3F46-E026-41CA-92BC-27117A753EC6}" presName="FourConn_1-2" presStyleLbl="fgAccFollowNode1" presStyleIdx="0" presStyleCnt="3">
        <dgm:presLayoutVars>
          <dgm:bulletEnabled val="1"/>
        </dgm:presLayoutVars>
      </dgm:prSet>
      <dgm:spPr/>
    </dgm:pt>
    <dgm:pt modelId="{0656C4D4-D408-4696-91CE-215EDEE657EB}" type="pres">
      <dgm:prSet presAssocID="{7A9F3F46-E026-41CA-92BC-27117A753EC6}" presName="FourConn_2-3" presStyleLbl="fgAccFollowNode1" presStyleIdx="1" presStyleCnt="3">
        <dgm:presLayoutVars>
          <dgm:bulletEnabled val="1"/>
        </dgm:presLayoutVars>
      </dgm:prSet>
      <dgm:spPr/>
    </dgm:pt>
    <dgm:pt modelId="{34EB558D-CBEE-414F-A31F-E6636201DCB4}" type="pres">
      <dgm:prSet presAssocID="{7A9F3F46-E026-41CA-92BC-27117A753EC6}" presName="FourConn_3-4" presStyleLbl="fgAccFollowNode1" presStyleIdx="2" presStyleCnt="3">
        <dgm:presLayoutVars>
          <dgm:bulletEnabled val="1"/>
        </dgm:presLayoutVars>
      </dgm:prSet>
      <dgm:spPr/>
    </dgm:pt>
    <dgm:pt modelId="{B9F888B6-1BA9-4761-986D-A6CDB6404693}" type="pres">
      <dgm:prSet presAssocID="{7A9F3F46-E026-41CA-92BC-27117A753EC6}" presName="FourNodes_1_text" presStyleLbl="node1" presStyleIdx="3" presStyleCnt="4">
        <dgm:presLayoutVars>
          <dgm:bulletEnabled val="1"/>
        </dgm:presLayoutVars>
      </dgm:prSet>
      <dgm:spPr/>
    </dgm:pt>
    <dgm:pt modelId="{D58418E3-25E9-4781-B9E5-F15249847EBB}" type="pres">
      <dgm:prSet presAssocID="{7A9F3F46-E026-41CA-92BC-27117A753EC6}" presName="FourNodes_2_text" presStyleLbl="node1" presStyleIdx="3" presStyleCnt="4">
        <dgm:presLayoutVars>
          <dgm:bulletEnabled val="1"/>
        </dgm:presLayoutVars>
      </dgm:prSet>
      <dgm:spPr/>
    </dgm:pt>
    <dgm:pt modelId="{78F9E95F-6E00-466D-BAA3-458C9716DBD2}" type="pres">
      <dgm:prSet presAssocID="{7A9F3F46-E026-41CA-92BC-27117A753EC6}" presName="FourNodes_3_text" presStyleLbl="node1" presStyleIdx="3" presStyleCnt="4">
        <dgm:presLayoutVars>
          <dgm:bulletEnabled val="1"/>
        </dgm:presLayoutVars>
      </dgm:prSet>
      <dgm:spPr/>
    </dgm:pt>
    <dgm:pt modelId="{3F0E914A-11D4-4B68-AA98-FCF44BBD401F}" type="pres">
      <dgm:prSet presAssocID="{7A9F3F46-E026-41CA-92BC-27117A753EC6}" presName="FourNodes_4_text" presStyleLbl="node1" presStyleIdx="3" presStyleCnt="4">
        <dgm:presLayoutVars>
          <dgm:bulletEnabled val="1"/>
        </dgm:presLayoutVars>
      </dgm:prSet>
      <dgm:spPr/>
    </dgm:pt>
  </dgm:ptLst>
  <dgm:cxnLst>
    <dgm:cxn modelId="{58A62501-BF1A-41E1-8F74-25DD9404A926}" type="presOf" srcId="{97AA953B-0CC0-4DD1-B3CB-1920B9080A37}" destId="{403728D2-BE07-42D7-BBFE-A8F805D611E2}" srcOrd="0" destOrd="0" presId="urn:microsoft.com/office/officeart/2005/8/layout/vProcess5"/>
    <dgm:cxn modelId="{AEEE250A-48D9-402D-9350-D37C08F6F4E0}" type="presOf" srcId="{6EF2B028-310F-440E-A55E-E70188AC15BB}" destId="{3836D900-1855-40D9-99B4-AF28485E4EB9}" srcOrd="0" destOrd="0" presId="urn:microsoft.com/office/officeart/2005/8/layout/vProcess5"/>
    <dgm:cxn modelId="{6BA28C0F-6771-451C-A2F0-20066E8BA5EB}" type="presOf" srcId="{DCAC64EB-B66F-442E-9489-CA3ABAD86AC9}" destId="{34EB558D-CBEE-414F-A31F-E6636201DCB4}" srcOrd="0" destOrd="0" presId="urn:microsoft.com/office/officeart/2005/8/layout/vProcess5"/>
    <dgm:cxn modelId="{49A8532C-58C8-477B-BE98-F0020A888E37}" type="presOf" srcId="{A0ADC3AE-ACC7-4084-9AB1-668490D9C491}" destId="{60E64526-2307-4CF6-A6F2-28432988F694}" srcOrd="0" destOrd="0" presId="urn:microsoft.com/office/officeart/2005/8/layout/vProcess5"/>
    <dgm:cxn modelId="{A48DD238-720C-47EE-AB55-0D72A6243E18}" type="presOf" srcId="{6EF2B028-310F-440E-A55E-E70188AC15BB}" destId="{78F9E95F-6E00-466D-BAA3-458C9716DBD2}" srcOrd="1" destOrd="0" presId="urn:microsoft.com/office/officeart/2005/8/layout/vProcess5"/>
    <dgm:cxn modelId="{22336F66-45A0-4425-93EB-79CC0F799C5B}" type="presOf" srcId="{7A9F3F46-E026-41CA-92BC-27117A753EC6}" destId="{AA30C484-4301-4B25-AC19-8129CD2F3697}" srcOrd="0" destOrd="0" presId="urn:microsoft.com/office/officeart/2005/8/layout/vProcess5"/>
    <dgm:cxn modelId="{F7375C6F-C9C8-4031-88BB-3EC403ADCEE3}" srcId="{7A9F3F46-E026-41CA-92BC-27117A753EC6}" destId="{7768F9C8-45CF-4502-9742-F358E7D9A101}" srcOrd="3" destOrd="0" parTransId="{EC084C2B-ED27-45D0-BC97-219640B73A6E}" sibTransId="{492995AD-5AAB-4FED-8990-583E303EA686}"/>
    <dgm:cxn modelId="{8AA36550-5D30-43AA-9CB1-8289D5ED7B5F}" type="presOf" srcId="{7768F9C8-45CF-4502-9742-F358E7D9A101}" destId="{3EAD8F9A-6541-4EFF-A952-57D3ED87D94B}" srcOrd="0" destOrd="0" presId="urn:microsoft.com/office/officeart/2005/8/layout/vProcess5"/>
    <dgm:cxn modelId="{B4F82353-2C33-44FB-85CF-495E09C2E296}" type="presOf" srcId="{97AA953B-0CC0-4DD1-B3CB-1920B9080A37}" destId="{B9F888B6-1BA9-4761-986D-A6CDB6404693}" srcOrd="1" destOrd="0" presId="urn:microsoft.com/office/officeart/2005/8/layout/vProcess5"/>
    <dgm:cxn modelId="{A71C1285-131C-47A0-81D8-F8F3D118B90B}" type="presOf" srcId="{B184AF10-AC54-4421-B13F-5C068A38B410}" destId="{AC4DC9FE-1AE7-46A2-B77A-C3E623202190}" srcOrd="0" destOrd="0" presId="urn:microsoft.com/office/officeart/2005/8/layout/vProcess5"/>
    <dgm:cxn modelId="{38113C94-C376-4FD1-8C7C-91D9FAD277D6}" type="presOf" srcId="{9AB80335-6981-4B85-B837-C6F87EC8B22D}" destId="{0656C4D4-D408-4696-91CE-215EDEE657EB}" srcOrd="0" destOrd="0" presId="urn:microsoft.com/office/officeart/2005/8/layout/vProcess5"/>
    <dgm:cxn modelId="{DDB827AB-80D4-4062-BC83-13478B0A7A84}" srcId="{7A9F3F46-E026-41CA-92BC-27117A753EC6}" destId="{B184AF10-AC54-4421-B13F-5C068A38B410}" srcOrd="1" destOrd="0" parTransId="{303F444E-7235-4307-8E86-C07CF5B6538E}" sibTransId="{9AB80335-6981-4B85-B837-C6F87EC8B22D}"/>
    <dgm:cxn modelId="{C88FE2AF-C32B-46BB-954A-D719194F1165}" type="presOf" srcId="{7768F9C8-45CF-4502-9742-F358E7D9A101}" destId="{3F0E914A-11D4-4B68-AA98-FCF44BBD401F}" srcOrd="1" destOrd="0" presId="urn:microsoft.com/office/officeart/2005/8/layout/vProcess5"/>
    <dgm:cxn modelId="{AF5C0ABD-B8A8-4B7A-A80F-C0367E2DD2EB}" srcId="{7A9F3F46-E026-41CA-92BC-27117A753EC6}" destId="{97AA953B-0CC0-4DD1-B3CB-1920B9080A37}" srcOrd="0" destOrd="0" parTransId="{D41957C2-6B28-49DD-A691-6BB5264800E4}" sibTransId="{A0ADC3AE-ACC7-4084-9AB1-668490D9C491}"/>
    <dgm:cxn modelId="{FEC463D1-97E5-4FC6-88D8-AD009E9C2D8F}" type="presOf" srcId="{B184AF10-AC54-4421-B13F-5C068A38B410}" destId="{D58418E3-25E9-4781-B9E5-F15249847EBB}" srcOrd="1" destOrd="0" presId="urn:microsoft.com/office/officeart/2005/8/layout/vProcess5"/>
    <dgm:cxn modelId="{EC6778E9-3F3B-40A9-879E-B7A88E0BD407}" srcId="{7A9F3F46-E026-41CA-92BC-27117A753EC6}" destId="{6EF2B028-310F-440E-A55E-E70188AC15BB}" srcOrd="2" destOrd="0" parTransId="{7FBED7C7-7050-41F6-B4F3-CC7D645C7102}" sibTransId="{DCAC64EB-B66F-442E-9489-CA3ABAD86AC9}"/>
    <dgm:cxn modelId="{E0D7A7DC-3D02-4B6E-9064-C3A08E0A32F3}" type="presParOf" srcId="{AA30C484-4301-4B25-AC19-8129CD2F3697}" destId="{16B58A93-F896-4F92-A696-926B07CBF87F}" srcOrd="0" destOrd="0" presId="urn:microsoft.com/office/officeart/2005/8/layout/vProcess5"/>
    <dgm:cxn modelId="{5F792BD3-9AA1-43B3-ACC7-9BD0F081BD1C}" type="presParOf" srcId="{AA30C484-4301-4B25-AC19-8129CD2F3697}" destId="{403728D2-BE07-42D7-BBFE-A8F805D611E2}" srcOrd="1" destOrd="0" presId="urn:microsoft.com/office/officeart/2005/8/layout/vProcess5"/>
    <dgm:cxn modelId="{66E755BF-DE57-47F3-8821-DB1FFE8EA81D}" type="presParOf" srcId="{AA30C484-4301-4B25-AC19-8129CD2F3697}" destId="{AC4DC9FE-1AE7-46A2-B77A-C3E623202190}" srcOrd="2" destOrd="0" presId="urn:microsoft.com/office/officeart/2005/8/layout/vProcess5"/>
    <dgm:cxn modelId="{68795EAE-0133-40F4-857E-2B00D933C77C}" type="presParOf" srcId="{AA30C484-4301-4B25-AC19-8129CD2F3697}" destId="{3836D900-1855-40D9-99B4-AF28485E4EB9}" srcOrd="3" destOrd="0" presId="urn:microsoft.com/office/officeart/2005/8/layout/vProcess5"/>
    <dgm:cxn modelId="{B1C23FB1-9C30-4F79-83E5-D70C6C2BC131}" type="presParOf" srcId="{AA30C484-4301-4B25-AC19-8129CD2F3697}" destId="{3EAD8F9A-6541-4EFF-A952-57D3ED87D94B}" srcOrd="4" destOrd="0" presId="urn:microsoft.com/office/officeart/2005/8/layout/vProcess5"/>
    <dgm:cxn modelId="{4F25BA25-6963-4E42-A9B0-624C53591502}" type="presParOf" srcId="{AA30C484-4301-4B25-AC19-8129CD2F3697}" destId="{60E64526-2307-4CF6-A6F2-28432988F694}" srcOrd="5" destOrd="0" presId="urn:microsoft.com/office/officeart/2005/8/layout/vProcess5"/>
    <dgm:cxn modelId="{4AE6931F-F140-4746-8F0C-D1DB4B0D9D81}" type="presParOf" srcId="{AA30C484-4301-4B25-AC19-8129CD2F3697}" destId="{0656C4D4-D408-4696-91CE-215EDEE657EB}" srcOrd="6" destOrd="0" presId="urn:microsoft.com/office/officeart/2005/8/layout/vProcess5"/>
    <dgm:cxn modelId="{5F51D66D-2539-4350-B9F0-1AC62BBC73C0}" type="presParOf" srcId="{AA30C484-4301-4B25-AC19-8129CD2F3697}" destId="{34EB558D-CBEE-414F-A31F-E6636201DCB4}" srcOrd="7" destOrd="0" presId="urn:microsoft.com/office/officeart/2005/8/layout/vProcess5"/>
    <dgm:cxn modelId="{09FA67EE-87DF-402B-AD1D-FD80C78F3306}" type="presParOf" srcId="{AA30C484-4301-4B25-AC19-8129CD2F3697}" destId="{B9F888B6-1BA9-4761-986D-A6CDB6404693}" srcOrd="8" destOrd="0" presId="urn:microsoft.com/office/officeart/2005/8/layout/vProcess5"/>
    <dgm:cxn modelId="{EDC7B9E1-846A-486C-89DE-3FD847438F67}" type="presParOf" srcId="{AA30C484-4301-4B25-AC19-8129CD2F3697}" destId="{D58418E3-25E9-4781-B9E5-F15249847EBB}" srcOrd="9" destOrd="0" presId="urn:microsoft.com/office/officeart/2005/8/layout/vProcess5"/>
    <dgm:cxn modelId="{CF2C6A96-ECAA-49DE-8B69-9C23DCDFD3EA}" type="presParOf" srcId="{AA30C484-4301-4B25-AC19-8129CD2F3697}" destId="{78F9E95F-6E00-466D-BAA3-458C9716DBD2}" srcOrd="10" destOrd="0" presId="urn:microsoft.com/office/officeart/2005/8/layout/vProcess5"/>
    <dgm:cxn modelId="{D5B5769E-7B9D-45B1-BF5C-F286EC996B27}" type="presParOf" srcId="{AA30C484-4301-4B25-AC19-8129CD2F3697}" destId="{3F0E914A-11D4-4B68-AA98-FCF44BBD401F}"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A030D8-46EC-4135-BD73-72E1604A61D0}"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5F52E91-A53D-4806-9CB7-828F4C704B70}">
      <dgm:prSet custT="1"/>
      <dgm:spPr/>
      <dgm:t>
        <a:bodyPr/>
        <a:lstStyle/>
        <a:p>
          <a:r>
            <a:rPr lang="en-US" sz="1800" dirty="0"/>
            <a:t>What two Microsoft tools can be used to analyze and diagnose classic site page performance in SharePoint Online?</a:t>
          </a:r>
          <a:endParaRPr lang="nb-NO" sz="1800" dirty="0"/>
        </a:p>
      </dgm:t>
    </dgm:pt>
    <dgm:pt modelId="{B6D8949E-A5ED-4D8D-B46D-731CC3B5C485}" type="parTrans" cxnId="{65002DEC-E95B-475D-9B13-DFBF58C77EEC}">
      <dgm:prSet/>
      <dgm:spPr/>
      <dgm:t>
        <a:bodyPr/>
        <a:lstStyle/>
        <a:p>
          <a:endParaRPr lang="en-US" sz="1800"/>
        </a:p>
      </dgm:t>
    </dgm:pt>
    <dgm:pt modelId="{BB9B01DF-DB24-4F9B-AFC2-3F3A77588F43}" type="sibTrans" cxnId="{65002DEC-E95B-475D-9B13-DFBF58C77EEC}">
      <dgm:prSet/>
      <dgm:spPr/>
      <dgm:t>
        <a:bodyPr/>
        <a:lstStyle/>
        <a:p>
          <a:endParaRPr lang="en-US" sz="1800"/>
        </a:p>
      </dgm:t>
    </dgm:pt>
    <dgm:pt modelId="{BE7BDD8D-8488-4EE9-A33E-ADA602FEA896}">
      <dgm:prSet custT="1"/>
      <dgm:spPr/>
      <dgm:t>
        <a:bodyPr/>
        <a:lstStyle/>
        <a:p>
          <a:r>
            <a:rPr lang="en-US" sz="1800" dirty="0"/>
            <a:t>What two types of CDNs are available in Microsoft 365? </a:t>
          </a:r>
          <a:endParaRPr lang="nb-NO" sz="1800" dirty="0"/>
        </a:p>
      </dgm:t>
    </dgm:pt>
    <dgm:pt modelId="{F338CCBA-65F7-4B29-B9C2-2B50B0100234}" type="parTrans" cxnId="{57B11C75-BAAE-476B-A377-A5F8BA8B4B46}">
      <dgm:prSet/>
      <dgm:spPr/>
      <dgm:t>
        <a:bodyPr/>
        <a:lstStyle/>
        <a:p>
          <a:endParaRPr lang="en-US" sz="1800"/>
        </a:p>
      </dgm:t>
    </dgm:pt>
    <dgm:pt modelId="{9CAC499A-260A-437C-BCE9-9E97978EFBFD}" type="sibTrans" cxnId="{57B11C75-BAAE-476B-A377-A5F8BA8B4B46}">
      <dgm:prSet/>
      <dgm:spPr/>
      <dgm:t>
        <a:bodyPr/>
        <a:lstStyle/>
        <a:p>
          <a:endParaRPr lang="en-US" sz="1800"/>
        </a:p>
      </dgm:t>
    </dgm:pt>
    <dgm:pt modelId="{5F4059EC-9CC0-484C-82B9-A7FFE4820633}">
      <dgm:prSet custT="1"/>
      <dgm:spPr/>
      <dgm:t>
        <a:bodyPr/>
        <a:lstStyle/>
        <a:p>
          <a:r>
            <a:rPr lang="en-US" sz="1800" dirty="0"/>
            <a:t>What PowerShell command is used to add a new CDN origin to a tenant? </a:t>
          </a:r>
          <a:endParaRPr lang="nb-NO" sz="1800" dirty="0"/>
        </a:p>
      </dgm:t>
    </dgm:pt>
    <dgm:pt modelId="{36ADC24B-7A31-4EE2-9079-DB5D7BD17853}" type="parTrans" cxnId="{95D4FCF3-F7C9-482F-BD8A-5423EB219694}">
      <dgm:prSet/>
      <dgm:spPr/>
      <dgm:t>
        <a:bodyPr/>
        <a:lstStyle/>
        <a:p>
          <a:endParaRPr lang="en-US" sz="1800"/>
        </a:p>
      </dgm:t>
    </dgm:pt>
    <dgm:pt modelId="{92140614-F032-4EED-B1AC-F16E8513C8C8}" type="sibTrans" cxnId="{95D4FCF3-F7C9-482F-BD8A-5423EB219694}">
      <dgm:prSet/>
      <dgm:spPr/>
      <dgm:t>
        <a:bodyPr/>
        <a:lstStyle/>
        <a:p>
          <a:endParaRPr lang="en-US" sz="1800"/>
        </a:p>
      </dgm:t>
    </dgm:pt>
    <dgm:pt modelId="{CF54C62C-1A08-4116-82CB-C955621B5951}">
      <dgm:prSet custT="1"/>
      <dgm:spPr/>
      <dgm:t>
        <a:bodyPr/>
        <a:lstStyle/>
        <a:p>
          <a:r>
            <a:rPr lang="en-US" sz="1800" dirty="0"/>
            <a:t>Microsoft Edge Developer Tools and the Page Diagnostic tool for SharePoint Online</a:t>
          </a:r>
          <a:endParaRPr lang="nb-NO" sz="1800" dirty="0"/>
        </a:p>
      </dgm:t>
    </dgm:pt>
    <dgm:pt modelId="{D80B94D1-4837-4EE5-8AB8-C03EEE3514E7}" type="parTrans" cxnId="{0D56AB76-4777-4D42-9BB4-A6F44F705EFF}">
      <dgm:prSet/>
      <dgm:spPr/>
      <dgm:t>
        <a:bodyPr/>
        <a:lstStyle/>
        <a:p>
          <a:endParaRPr lang="en-US" sz="1800"/>
        </a:p>
      </dgm:t>
    </dgm:pt>
    <dgm:pt modelId="{E0959C38-8A12-431D-A421-C6C639EF2E57}" type="sibTrans" cxnId="{0D56AB76-4777-4D42-9BB4-A6F44F705EFF}">
      <dgm:prSet/>
      <dgm:spPr/>
      <dgm:t>
        <a:bodyPr/>
        <a:lstStyle/>
        <a:p>
          <a:endParaRPr lang="en-US" sz="1800"/>
        </a:p>
      </dgm:t>
    </dgm:pt>
    <dgm:pt modelId="{4AD151BA-1519-4184-B4FA-5A9959FD1218}">
      <dgm:prSet custT="1"/>
      <dgm:spPr/>
      <dgm:t>
        <a:bodyPr/>
        <a:lstStyle/>
        <a:p>
          <a:r>
            <a:rPr lang="nb-NO" sz="1800" dirty="0"/>
            <a:t>Public and Private </a:t>
          </a:r>
        </a:p>
      </dgm:t>
    </dgm:pt>
    <dgm:pt modelId="{143FA7A9-B7F9-4501-B8A1-50F58494413D}" type="parTrans" cxnId="{22BD36C5-FAA6-448C-B8CC-A743A34FC320}">
      <dgm:prSet/>
      <dgm:spPr/>
      <dgm:t>
        <a:bodyPr/>
        <a:lstStyle/>
        <a:p>
          <a:endParaRPr lang="en-US" sz="1800"/>
        </a:p>
      </dgm:t>
    </dgm:pt>
    <dgm:pt modelId="{D0A1A0E6-6433-43E0-8806-89AFE665510D}" type="sibTrans" cxnId="{22BD36C5-FAA6-448C-B8CC-A743A34FC320}">
      <dgm:prSet/>
      <dgm:spPr/>
      <dgm:t>
        <a:bodyPr/>
        <a:lstStyle/>
        <a:p>
          <a:endParaRPr lang="en-US" sz="1800"/>
        </a:p>
      </dgm:t>
    </dgm:pt>
    <dgm:pt modelId="{AF7F49A1-2112-4F0E-A724-41AE60037B81}">
      <dgm:prSet custT="1"/>
      <dgm:spPr/>
      <dgm:t>
        <a:bodyPr/>
        <a:lstStyle/>
        <a:p>
          <a:r>
            <a:rPr lang="en-US" sz="1800" dirty="0"/>
            <a:t>Add-</a:t>
          </a:r>
          <a:r>
            <a:rPr lang="en-US" sz="1800" dirty="0" err="1"/>
            <a:t>SPOTenantCDNOrigin</a:t>
          </a:r>
          <a:endParaRPr lang="nb-NO" sz="1800" dirty="0"/>
        </a:p>
      </dgm:t>
    </dgm:pt>
    <dgm:pt modelId="{D46360A5-9858-49B8-9208-89BE8321118F}" type="parTrans" cxnId="{5EA34E8E-F14F-427D-9DB3-E6F1F84E0DF7}">
      <dgm:prSet/>
      <dgm:spPr/>
      <dgm:t>
        <a:bodyPr/>
        <a:lstStyle/>
        <a:p>
          <a:endParaRPr lang="en-US" sz="1800"/>
        </a:p>
      </dgm:t>
    </dgm:pt>
    <dgm:pt modelId="{CD41C273-862F-4322-8E23-C455B1D01A6E}" type="sibTrans" cxnId="{5EA34E8E-F14F-427D-9DB3-E6F1F84E0DF7}">
      <dgm:prSet/>
      <dgm:spPr/>
      <dgm:t>
        <a:bodyPr/>
        <a:lstStyle/>
        <a:p>
          <a:endParaRPr lang="en-US" sz="1800"/>
        </a:p>
      </dgm:t>
    </dgm:pt>
    <dgm:pt modelId="{9A34868A-CA7D-4780-8D08-B3338F6A7393}" type="pres">
      <dgm:prSet presAssocID="{A5A030D8-46EC-4135-BD73-72E1604A61D0}" presName="linear" presStyleCnt="0">
        <dgm:presLayoutVars>
          <dgm:dir/>
          <dgm:animLvl val="lvl"/>
          <dgm:resizeHandles val="exact"/>
        </dgm:presLayoutVars>
      </dgm:prSet>
      <dgm:spPr/>
    </dgm:pt>
    <dgm:pt modelId="{A62D42BA-64A9-4E35-B019-1799D4E15A06}" type="pres">
      <dgm:prSet presAssocID="{A5F52E91-A53D-4806-9CB7-828F4C704B70}" presName="parentLin" presStyleCnt="0"/>
      <dgm:spPr/>
    </dgm:pt>
    <dgm:pt modelId="{31E78216-A2EB-4D09-B357-7502AC46EA6F}" type="pres">
      <dgm:prSet presAssocID="{A5F52E91-A53D-4806-9CB7-828F4C704B70}" presName="parentLeftMargin" presStyleLbl="node1" presStyleIdx="0" presStyleCnt="3"/>
      <dgm:spPr/>
    </dgm:pt>
    <dgm:pt modelId="{ADB983CD-EF20-471C-964F-B520DCF4D3FE}" type="pres">
      <dgm:prSet presAssocID="{A5F52E91-A53D-4806-9CB7-828F4C704B70}" presName="parentText" presStyleLbl="node1" presStyleIdx="0" presStyleCnt="3">
        <dgm:presLayoutVars>
          <dgm:chMax val="0"/>
          <dgm:bulletEnabled val="1"/>
        </dgm:presLayoutVars>
      </dgm:prSet>
      <dgm:spPr/>
    </dgm:pt>
    <dgm:pt modelId="{434245A9-C244-42E9-B36E-0C735648EEE4}" type="pres">
      <dgm:prSet presAssocID="{A5F52E91-A53D-4806-9CB7-828F4C704B70}" presName="negativeSpace" presStyleCnt="0"/>
      <dgm:spPr/>
    </dgm:pt>
    <dgm:pt modelId="{67B7BF28-9EB4-4EAF-A69D-58B0FE84BB9E}" type="pres">
      <dgm:prSet presAssocID="{A5F52E91-A53D-4806-9CB7-828F4C704B70}" presName="childText" presStyleLbl="conFgAcc1" presStyleIdx="0" presStyleCnt="3">
        <dgm:presLayoutVars>
          <dgm:bulletEnabled val="1"/>
        </dgm:presLayoutVars>
      </dgm:prSet>
      <dgm:spPr/>
    </dgm:pt>
    <dgm:pt modelId="{3A0A4FC6-EFB0-40F5-A572-70BE64E68F5F}" type="pres">
      <dgm:prSet presAssocID="{BB9B01DF-DB24-4F9B-AFC2-3F3A77588F43}" presName="spaceBetweenRectangles" presStyleCnt="0"/>
      <dgm:spPr/>
    </dgm:pt>
    <dgm:pt modelId="{5ACB67E7-E808-4D67-BD1D-52ADE51B3049}" type="pres">
      <dgm:prSet presAssocID="{BE7BDD8D-8488-4EE9-A33E-ADA602FEA896}" presName="parentLin" presStyleCnt="0"/>
      <dgm:spPr/>
    </dgm:pt>
    <dgm:pt modelId="{8ABA7AE4-251C-45EA-AF3F-073F26E328A6}" type="pres">
      <dgm:prSet presAssocID="{BE7BDD8D-8488-4EE9-A33E-ADA602FEA896}" presName="parentLeftMargin" presStyleLbl="node1" presStyleIdx="0" presStyleCnt="3"/>
      <dgm:spPr/>
    </dgm:pt>
    <dgm:pt modelId="{FB9B9A09-DE7B-42EC-B9DE-EC481931C524}" type="pres">
      <dgm:prSet presAssocID="{BE7BDD8D-8488-4EE9-A33E-ADA602FEA896}" presName="parentText" presStyleLbl="node1" presStyleIdx="1" presStyleCnt="3">
        <dgm:presLayoutVars>
          <dgm:chMax val="0"/>
          <dgm:bulletEnabled val="1"/>
        </dgm:presLayoutVars>
      </dgm:prSet>
      <dgm:spPr/>
    </dgm:pt>
    <dgm:pt modelId="{91EBD08B-8FA2-4DDF-9580-D50AC9A00CBD}" type="pres">
      <dgm:prSet presAssocID="{BE7BDD8D-8488-4EE9-A33E-ADA602FEA896}" presName="negativeSpace" presStyleCnt="0"/>
      <dgm:spPr/>
    </dgm:pt>
    <dgm:pt modelId="{FB3F1349-3785-4E6E-9708-EBE55C1DC01C}" type="pres">
      <dgm:prSet presAssocID="{BE7BDD8D-8488-4EE9-A33E-ADA602FEA896}" presName="childText" presStyleLbl="conFgAcc1" presStyleIdx="1" presStyleCnt="3">
        <dgm:presLayoutVars>
          <dgm:bulletEnabled val="1"/>
        </dgm:presLayoutVars>
      </dgm:prSet>
      <dgm:spPr/>
    </dgm:pt>
    <dgm:pt modelId="{4B21291A-357E-4091-92C4-AA0FFC77EE04}" type="pres">
      <dgm:prSet presAssocID="{9CAC499A-260A-437C-BCE9-9E97978EFBFD}" presName="spaceBetweenRectangles" presStyleCnt="0"/>
      <dgm:spPr/>
    </dgm:pt>
    <dgm:pt modelId="{E5B95C66-653B-4DF9-87FF-4618A2D6610B}" type="pres">
      <dgm:prSet presAssocID="{5F4059EC-9CC0-484C-82B9-A7FFE4820633}" presName="parentLin" presStyleCnt="0"/>
      <dgm:spPr/>
    </dgm:pt>
    <dgm:pt modelId="{D1AF9E84-1B97-4420-8C04-A735BF749917}" type="pres">
      <dgm:prSet presAssocID="{5F4059EC-9CC0-484C-82B9-A7FFE4820633}" presName="parentLeftMargin" presStyleLbl="node1" presStyleIdx="1" presStyleCnt="3"/>
      <dgm:spPr/>
    </dgm:pt>
    <dgm:pt modelId="{BD4E8ECE-7125-4BA4-A023-9F900BC521BD}" type="pres">
      <dgm:prSet presAssocID="{5F4059EC-9CC0-484C-82B9-A7FFE4820633}" presName="parentText" presStyleLbl="node1" presStyleIdx="2" presStyleCnt="3">
        <dgm:presLayoutVars>
          <dgm:chMax val="0"/>
          <dgm:bulletEnabled val="1"/>
        </dgm:presLayoutVars>
      </dgm:prSet>
      <dgm:spPr/>
    </dgm:pt>
    <dgm:pt modelId="{6D79D087-B161-4961-88C4-E7937EBB1D93}" type="pres">
      <dgm:prSet presAssocID="{5F4059EC-9CC0-484C-82B9-A7FFE4820633}" presName="negativeSpace" presStyleCnt="0"/>
      <dgm:spPr/>
    </dgm:pt>
    <dgm:pt modelId="{19D83D99-684B-4D85-A42D-E1927F006482}" type="pres">
      <dgm:prSet presAssocID="{5F4059EC-9CC0-484C-82B9-A7FFE4820633}" presName="childText" presStyleLbl="conFgAcc1" presStyleIdx="2" presStyleCnt="3">
        <dgm:presLayoutVars>
          <dgm:bulletEnabled val="1"/>
        </dgm:presLayoutVars>
      </dgm:prSet>
      <dgm:spPr/>
    </dgm:pt>
  </dgm:ptLst>
  <dgm:cxnLst>
    <dgm:cxn modelId="{9E8AEE01-6EAB-4C5E-8204-FA6087A283D4}" type="presOf" srcId="{A5A030D8-46EC-4135-BD73-72E1604A61D0}" destId="{9A34868A-CA7D-4780-8D08-B3338F6A7393}" srcOrd="0" destOrd="0" presId="urn:microsoft.com/office/officeart/2005/8/layout/list1"/>
    <dgm:cxn modelId="{C0F47309-3B76-4CAC-B45D-B76790A4D12C}" type="presOf" srcId="{5F4059EC-9CC0-484C-82B9-A7FFE4820633}" destId="{D1AF9E84-1B97-4420-8C04-A735BF749917}" srcOrd="0" destOrd="0" presId="urn:microsoft.com/office/officeart/2005/8/layout/list1"/>
    <dgm:cxn modelId="{149FE31E-C54F-4EF3-B59E-BD72970D3188}" type="presOf" srcId="{CF54C62C-1A08-4116-82CB-C955621B5951}" destId="{67B7BF28-9EB4-4EAF-A69D-58B0FE84BB9E}" srcOrd="0" destOrd="0" presId="urn:microsoft.com/office/officeart/2005/8/layout/list1"/>
    <dgm:cxn modelId="{5AD3FD2D-9BB4-43BB-AFF8-6E57AB78DD97}" type="presOf" srcId="{A5F52E91-A53D-4806-9CB7-828F4C704B70}" destId="{ADB983CD-EF20-471C-964F-B520DCF4D3FE}" srcOrd="1" destOrd="0" presId="urn:microsoft.com/office/officeart/2005/8/layout/list1"/>
    <dgm:cxn modelId="{9DDFA761-A566-4E6E-A031-C9B54BFCE16A}" type="presOf" srcId="{BE7BDD8D-8488-4EE9-A33E-ADA602FEA896}" destId="{FB9B9A09-DE7B-42EC-B9DE-EC481931C524}" srcOrd="1" destOrd="0" presId="urn:microsoft.com/office/officeart/2005/8/layout/list1"/>
    <dgm:cxn modelId="{AEBC4767-C915-4B9F-8869-722BE836A4A2}" type="presOf" srcId="{4AD151BA-1519-4184-B4FA-5A9959FD1218}" destId="{FB3F1349-3785-4E6E-9708-EBE55C1DC01C}" srcOrd="0" destOrd="0" presId="urn:microsoft.com/office/officeart/2005/8/layout/list1"/>
    <dgm:cxn modelId="{7F0E7149-E20D-4D0B-A158-6C7CCF67463E}" type="presOf" srcId="{BE7BDD8D-8488-4EE9-A33E-ADA602FEA896}" destId="{8ABA7AE4-251C-45EA-AF3F-073F26E328A6}" srcOrd="0" destOrd="0" presId="urn:microsoft.com/office/officeart/2005/8/layout/list1"/>
    <dgm:cxn modelId="{25D12A70-1224-41B9-A943-5F90B9F180AA}" type="presOf" srcId="{AF7F49A1-2112-4F0E-A724-41AE60037B81}" destId="{19D83D99-684B-4D85-A42D-E1927F006482}" srcOrd="0" destOrd="0" presId="urn:microsoft.com/office/officeart/2005/8/layout/list1"/>
    <dgm:cxn modelId="{57B11C75-BAAE-476B-A377-A5F8BA8B4B46}" srcId="{A5A030D8-46EC-4135-BD73-72E1604A61D0}" destId="{BE7BDD8D-8488-4EE9-A33E-ADA602FEA896}" srcOrd="1" destOrd="0" parTransId="{F338CCBA-65F7-4B29-B9C2-2B50B0100234}" sibTransId="{9CAC499A-260A-437C-BCE9-9E97978EFBFD}"/>
    <dgm:cxn modelId="{0D56AB76-4777-4D42-9BB4-A6F44F705EFF}" srcId="{A5F52E91-A53D-4806-9CB7-828F4C704B70}" destId="{CF54C62C-1A08-4116-82CB-C955621B5951}" srcOrd="0" destOrd="0" parTransId="{D80B94D1-4837-4EE5-8AB8-C03EEE3514E7}" sibTransId="{E0959C38-8A12-431D-A421-C6C639EF2E57}"/>
    <dgm:cxn modelId="{5EA34E8E-F14F-427D-9DB3-E6F1F84E0DF7}" srcId="{5F4059EC-9CC0-484C-82B9-A7FFE4820633}" destId="{AF7F49A1-2112-4F0E-A724-41AE60037B81}" srcOrd="0" destOrd="0" parTransId="{D46360A5-9858-49B8-9208-89BE8321118F}" sibTransId="{CD41C273-862F-4322-8E23-C455B1D01A6E}"/>
    <dgm:cxn modelId="{43168CC3-CA14-4974-978C-8A0C8D2E777C}" type="presOf" srcId="{A5F52E91-A53D-4806-9CB7-828F4C704B70}" destId="{31E78216-A2EB-4D09-B357-7502AC46EA6F}" srcOrd="0" destOrd="0" presId="urn:microsoft.com/office/officeart/2005/8/layout/list1"/>
    <dgm:cxn modelId="{22BD36C5-FAA6-448C-B8CC-A743A34FC320}" srcId="{BE7BDD8D-8488-4EE9-A33E-ADA602FEA896}" destId="{4AD151BA-1519-4184-B4FA-5A9959FD1218}" srcOrd="0" destOrd="0" parTransId="{143FA7A9-B7F9-4501-B8A1-50F58494413D}" sibTransId="{D0A1A0E6-6433-43E0-8806-89AFE665510D}"/>
    <dgm:cxn modelId="{F7B2C8E9-3FB9-4213-B6E4-8506B8590BA1}" type="presOf" srcId="{5F4059EC-9CC0-484C-82B9-A7FFE4820633}" destId="{BD4E8ECE-7125-4BA4-A023-9F900BC521BD}" srcOrd="1" destOrd="0" presId="urn:microsoft.com/office/officeart/2005/8/layout/list1"/>
    <dgm:cxn modelId="{65002DEC-E95B-475D-9B13-DFBF58C77EEC}" srcId="{A5A030D8-46EC-4135-BD73-72E1604A61D0}" destId="{A5F52E91-A53D-4806-9CB7-828F4C704B70}" srcOrd="0" destOrd="0" parTransId="{B6D8949E-A5ED-4D8D-B46D-731CC3B5C485}" sibTransId="{BB9B01DF-DB24-4F9B-AFC2-3F3A77588F43}"/>
    <dgm:cxn modelId="{95D4FCF3-F7C9-482F-BD8A-5423EB219694}" srcId="{A5A030D8-46EC-4135-BD73-72E1604A61D0}" destId="{5F4059EC-9CC0-484C-82B9-A7FFE4820633}" srcOrd="2" destOrd="0" parTransId="{36ADC24B-7A31-4EE2-9079-DB5D7BD17853}" sibTransId="{92140614-F032-4EED-B1AC-F16E8513C8C8}"/>
    <dgm:cxn modelId="{A85FDC71-5CD8-448B-9A60-B0C1C3D4B7C8}" type="presParOf" srcId="{9A34868A-CA7D-4780-8D08-B3338F6A7393}" destId="{A62D42BA-64A9-4E35-B019-1799D4E15A06}" srcOrd="0" destOrd="0" presId="urn:microsoft.com/office/officeart/2005/8/layout/list1"/>
    <dgm:cxn modelId="{2C95D462-FA61-416E-A40B-D71E25E4EF2D}" type="presParOf" srcId="{A62D42BA-64A9-4E35-B019-1799D4E15A06}" destId="{31E78216-A2EB-4D09-B357-7502AC46EA6F}" srcOrd="0" destOrd="0" presId="urn:microsoft.com/office/officeart/2005/8/layout/list1"/>
    <dgm:cxn modelId="{38130C29-D9E4-4738-9678-C800EBC621B4}" type="presParOf" srcId="{A62D42BA-64A9-4E35-B019-1799D4E15A06}" destId="{ADB983CD-EF20-471C-964F-B520DCF4D3FE}" srcOrd="1" destOrd="0" presId="urn:microsoft.com/office/officeart/2005/8/layout/list1"/>
    <dgm:cxn modelId="{AF13A4C0-953A-4B73-AF7E-E62E8E835173}" type="presParOf" srcId="{9A34868A-CA7D-4780-8D08-B3338F6A7393}" destId="{434245A9-C244-42E9-B36E-0C735648EEE4}" srcOrd="1" destOrd="0" presId="urn:microsoft.com/office/officeart/2005/8/layout/list1"/>
    <dgm:cxn modelId="{18C0EA21-2494-428D-9539-ADBE81600DCA}" type="presParOf" srcId="{9A34868A-CA7D-4780-8D08-B3338F6A7393}" destId="{67B7BF28-9EB4-4EAF-A69D-58B0FE84BB9E}" srcOrd="2" destOrd="0" presId="urn:microsoft.com/office/officeart/2005/8/layout/list1"/>
    <dgm:cxn modelId="{990DA2FB-B026-40A6-9F21-1464DDF076BF}" type="presParOf" srcId="{9A34868A-CA7D-4780-8D08-B3338F6A7393}" destId="{3A0A4FC6-EFB0-40F5-A572-70BE64E68F5F}" srcOrd="3" destOrd="0" presId="urn:microsoft.com/office/officeart/2005/8/layout/list1"/>
    <dgm:cxn modelId="{37AFE68D-28F7-48B7-AEE4-ADB681C1F5FC}" type="presParOf" srcId="{9A34868A-CA7D-4780-8D08-B3338F6A7393}" destId="{5ACB67E7-E808-4D67-BD1D-52ADE51B3049}" srcOrd="4" destOrd="0" presId="urn:microsoft.com/office/officeart/2005/8/layout/list1"/>
    <dgm:cxn modelId="{61F50C99-199D-4ED7-B63E-3CDD6B047165}" type="presParOf" srcId="{5ACB67E7-E808-4D67-BD1D-52ADE51B3049}" destId="{8ABA7AE4-251C-45EA-AF3F-073F26E328A6}" srcOrd="0" destOrd="0" presId="urn:microsoft.com/office/officeart/2005/8/layout/list1"/>
    <dgm:cxn modelId="{44341D46-CE01-4118-AE98-83B7B578C1E0}" type="presParOf" srcId="{5ACB67E7-E808-4D67-BD1D-52ADE51B3049}" destId="{FB9B9A09-DE7B-42EC-B9DE-EC481931C524}" srcOrd="1" destOrd="0" presId="urn:microsoft.com/office/officeart/2005/8/layout/list1"/>
    <dgm:cxn modelId="{2E4FC1E1-2F65-47DF-84A0-F9AA5AAACB2E}" type="presParOf" srcId="{9A34868A-CA7D-4780-8D08-B3338F6A7393}" destId="{91EBD08B-8FA2-4DDF-9580-D50AC9A00CBD}" srcOrd="5" destOrd="0" presId="urn:microsoft.com/office/officeart/2005/8/layout/list1"/>
    <dgm:cxn modelId="{D277A6E4-DC4E-4BEF-84F9-6E83A67CB77F}" type="presParOf" srcId="{9A34868A-CA7D-4780-8D08-B3338F6A7393}" destId="{FB3F1349-3785-4E6E-9708-EBE55C1DC01C}" srcOrd="6" destOrd="0" presId="urn:microsoft.com/office/officeart/2005/8/layout/list1"/>
    <dgm:cxn modelId="{C9E55388-BF23-4B98-AE5D-DCE213E2EA99}" type="presParOf" srcId="{9A34868A-CA7D-4780-8D08-B3338F6A7393}" destId="{4B21291A-357E-4091-92C4-AA0FFC77EE04}" srcOrd="7" destOrd="0" presId="urn:microsoft.com/office/officeart/2005/8/layout/list1"/>
    <dgm:cxn modelId="{73EC8C54-2A87-426B-81C8-8CC02B5149F9}" type="presParOf" srcId="{9A34868A-CA7D-4780-8D08-B3338F6A7393}" destId="{E5B95C66-653B-4DF9-87FF-4618A2D6610B}" srcOrd="8" destOrd="0" presId="urn:microsoft.com/office/officeart/2005/8/layout/list1"/>
    <dgm:cxn modelId="{B7EC7035-AA53-4238-B687-0469CBE83905}" type="presParOf" srcId="{E5B95C66-653B-4DF9-87FF-4618A2D6610B}" destId="{D1AF9E84-1B97-4420-8C04-A735BF749917}" srcOrd="0" destOrd="0" presId="urn:microsoft.com/office/officeart/2005/8/layout/list1"/>
    <dgm:cxn modelId="{129DE9C8-9E3D-4BFD-9AA6-E46A4898A600}" type="presParOf" srcId="{E5B95C66-653B-4DF9-87FF-4618A2D6610B}" destId="{BD4E8ECE-7125-4BA4-A023-9F900BC521BD}" srcOrd="1" destOrd="0" presId="urn:microsoft.com/office/officeart/2005/8/layout/list1"/>
    <dgm:cxn modelId="{5B98C601-A328-424C-8E4F-6C60C0266018}" type="presParOf" srcId="{9A34868A-CA7D-4780-8D08-B3338F6A7393}" destId="{6D79D087-B161-4961-88C4-E7937EBB1D93}" srcOrd="9" destOrd="0" presId="urn:microsoft.com/office/officeart/2005/8/layout/list1"/>
    <dgm:cxn modelId="{99758660-159D-461A-B23E-622EC665CB7B}" type="presParOf" srcId="{9A34868A-CA7D-4780-8D08-B3338F6A7393}" destId="{19D83D99-684B-4D85-A42D-E1927F0064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064558-9B3D-481F-8838-2EB3FEA258EC}">
      <dsp:nvSpPr>
        <dsp:cNvPr id="0" name=""/>
        <dsp:cNvSpPr/>
      </dsp:nvSpPr>
      <dsp:spPr>
        <a:xfrm>
          <a:off x="12531" y="124866"/>
          <a:ext cx="2754678" cy="826403"/>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2038" tIns="102038" rIns="102038" bIns="102038" numCol="1" spcCol="1270" anchor="ctr" anchorCtr="0">
          <a:noAutofit/>
        </a:bodyPr>
        <a:lstStyle/>
        <a:p>
          <a:pPr marL="0" lvl="0" indent="0" algn="ctr" defTabSz="1244600">
            <a:lnSpc>
              <a:spcPct val="90000"/>
            </a:lnSpc>
            <a:spcBef>
              <a:spcPct val="0"/>
            </a:spcBef>
            <a:spcAft>
              <a:spcPct val="35000"/>
            </a:spcAft>
            <a:buNone/>
          </a:pPr>
          <a:r>
            <a:rPr lang="en-US" sz="2800" kern="1200"/>
            <a:t>Determine</a:t>
          </a:r>
        </a:p>
      </dsp:txBody>
      <dsp:txXfrm>
        <a:off x="260452" y="124866"/>
        <a:ext cx="2258836" cy="826403"/>
      </dsp:txXfrm>
    </dsp:sp>
    <dsp:sp modelId="{0263AF83-CDCD-4339-B365-BB5E716F64BF}">
      <dsp:nvSpPr>
        <dsp:cNvPr id="0" name=""/>
        <dsp:cNvSpPr/>
      </dsp:nvSpPr>
      <dsp:spPr>
        <a:xfrm>
          <a:off x="12531" y="951270"/>
          <a:ext cx="2506757" cy="37435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8090" tIns="198090" rIns="198090" bIns="396179" numCol="1" spcCol="1270" anchor="t" anchorCtr="0">
          <a:noAutofit/>
        </a:bodyPr>
        <a:lstStyle/>
        <a:p>
          <a:pPr marL="0" lvl="0" indent="0" algn="l" defTabSz="889000">
            <a:lnSpc>
              <a:spcPct val="90000"/>
            </a:lnSpc>
            <a:spcBef>
              <a:spcPct val="0"/>
            </a:spcBef>
            <a:spcAft>
              <a:spcPct val="35000"/>
            </a:spcAft>
            <a:buNone/>
          </a:pPr>
          <a:r>
            <a:rPr lang="en-US" sz="2000" kern="1200" dirty="0"/>
            <a:t>Determine which static assets you want to host on the Microsoft 365 CDN</a:t>
          </a:r>
        </a:p>
        <a:p>
          <a:pPr marL="171450" lvl="1" indent="-171450" algn="l" defTabSz="711200">
            <a:lnSpc>
              <a:spcPct val="90000"/>
            </a:lnSpc>
            <a:spcBef>
              <a:spcPct val="0"/>
            </a:spcBef>
            <a:spcAft>
              <a:spcPct val="15000"/>
            </a:spcAft>
            <a:buChar char="•"/>
          </a:pPr>
          <a:r>
            <a:rPr lang="en-US" sz="1600" kern="1200"/>
            <a:t>Typical static asset file types hosted on CDN are .css, .eot, .gif, .ico, .jpeg, .jpg, .js,.png, .svg, .ttf, and .woff </a:t>
          </a:r>
        </a:p>
      </dsp:txBody>
      <dsp:txXfrm>
        <a:off x="12531" y="951270"/>
        <a:ext cx="2506757" cy="3743512"/>
      </dsp:txXfrm>
    </dsp:sp>
    <dsp:sp modelId="{E32BB0F0-BD10-4BF8-AA42-BF53E1EC7058}">
      <dsp:nvSpPr>
        <dsp:cNvPr id="0" name=""/>
        <dsp:cNvSpPr/>
      </dsp:nvSpPr>
      <dsp:spPr>
        <a:xfrm>
          <a:off x="2712859" y="124866"/>
          <a:ext cx="2754678" cy="826403"/>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2038" tIns="102038" rIns="102038" bIns="102038" numCol="1" spcCol="1270" anchor="ctr" anchorCtr="0">
          <a:noAutofit/>
        </a:bodyPr>
        <a:lstStyle/>
        <a:p>
          <a:pPr marL="0" lvl="0" indent="0" algn="ctr" defTabSz="1244600">
            <a:lnSpc>
              <a:spcPct val="90000"/>
            </a:lnSpc>
            <a:spcBef>
              <a:spcPct val="0"/>
            </a:spcBef>
            <a:spcAft>
              <a:spcPct val="35000"/>
            </a:spcAft>
            <a:buNone/>
          </a:pPr>
          <a:r>
            <a:rPr lang="en-US" sz="2800" kern="1200"/>
            <a:t>Determine</a:t>
          </a:r>
        </a:p>
      </dsp:txBody>
      <dsp:txXfrm>
        <a:off x="2960780" y="124866"/>
        <a:ext cx="2258836" cy="826403"/>
      </dsp:txXfrm>
    </dsp:sp>
    <dsp:sp modelId="{780E318A-7AF2-43AD-A9C8-06D49DAFF69B}">
      <dsp:nvSpPr>
        <dsp:cNvPr id="0" name=""/>
        <dsp:cNvSpPr/>
      </dsp:nvSpPr>
      <dsp:spPr>
        <a:xfrm>
          <a:off x="2712859" y="951270"/>
          <a:ext cx="2506757" cy="37435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8090" tIns="198090" rIns="198090" bIns="396179" numCol="1" spcCol="1270" anchor="t" anchorCtr="0">
          <a:noAutofit/>
        </a:bodyPr>
        <a:lstStyle/>
        <a:p>
          <a:pPr marL="0" lvl="0" indent="0" algn="l" defTabSz="889000">
            <a:lnSpc>
              <a:spcPct val="90000"/>
            </a:lnSpc>
            <a:spcBef>
              <a:spcPct val="0"/>
            </a:spcBef>
            <a:spcAft>
              <a:spcPct val="35000"/>
            </a:spcAft>
            <a:buNone/>
          </a:pPr>
          <a:r>
            <a:rPr lang="en-US" sz="2000" kern="1200"/>
            <a:t>Determine where you want to store your assets </a:t>
          </a:r>
        </a:p>
        <a:p>
          <a:pPr marL="171450" lvl="1" indent="-171450" algn="l" defTabSz="711200">
            <a:lnSpc>
              <a:spcPct val="90000"/>
            </a:lnSpc>
            <a:spcBef>
              <a:spcPct val="0"/>
            </a:spcBef>
            <a:spcAft>
              <a:spcPct val="15000"/>
            </a:spcAft>
            <a:buChar char="•"/>
          </a:pPr>
          <a:r>
            <a:rPr lang="en-US" sz="1600" kern="1200"/>
            <a:t>The CDN fetches your assets from a location called an origin</a:t>
          </a:r>
        </a:p>
        <a:p>
          <a:pPr marL="171450" lvl="1" indent="-171450" algn="l" defTabSz="711200">
            <a:lnSpc>
              <a:spcPct val="90000"/>
            </a:lnSpc>
            <a:spcBef>
              <a:spcPct val="0"/>
            </a:spcBef>
            <a:spcAft>
              <a:spcPct val="15000"/>
            </a:spcAft>
            <a:buChar char="•"/>
          </a:pPr>
          <a:r>
            <a:rPr lang="en-US" sz="1600" kern="1200"/>
            <a:t>This origin is a folder or SharePoint library</a:t>
          </a:r>
        </a:p>
      </dsp:txBody>
      <dsp:txXfrm>
        <a:off x="2712859" y="951270"/>
        <a:ext cx="2506757" cy="3743512"/>
      </dsp:txXfrm>
    </dsp:sp>
    <dsp:sp modelId="{2FCA014B-618B-4C18-ABC5-A78A9D668E03}">
      <dsp:nvSpPr>
        <dsp:cNvPr id="0" name=""/>
        <dsp:cNvSpPr/>
      </dsp:nvSpPr>
      <dsp:spPr>
        <a:xfrm>
          <a:off x="5413187" y="124866"/>
          <a:ext cx="2754678" cy="826403"/>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2038" tIns="102038" rIns="102038" bIns="102038" numCol="1" spcCol="1270" anchor="ctr" anchorCtr="0">
          <a:noAutofit/>
        </a:bodyPr>
        <a:lstStyle/>
        <a:p>
          <a:pPr marL="0" lvl="0" indent="0" algn="ctr" defTabSz="1244600">
            <a:lnSpc>
              <a:spcPct val="90000"/>
            </a:lnSpc>
            <a:spcBef>
              <a:spcPct val="0"/>
            </a:spcBef>
            <a:spcAft>
              <a:spcPct val="35000"/>
            </a:spcAft>
            <a:buNone/>
          </a:pPr>
          <a:r>
            <a:rPr lang="en-US" sz="2800" kern="1200"/>
            <a:t>Determine</a:t>
          </a:r>
        </a:p>
      </dsp:txBody>
      <dsp:txXfrm>
        <a:off x="5661108" y="124866"/>
        <a:ext cx="2258836" cy="826403"/>
      </dsp:txXfrm>
    </dsp:sp>
    <dsp:sp modelId="{D7989512-C4BA-4258-8246-DAFFE8CB1066}">
      <dsp:nvSpPr>
        <dsp:cNvPr id="0" name=""/>
        <dsp:cNvSpPr/>
      </dsp:nvSpPr>
      <dsp:spPr>
        <a:xfrm>
          <a:off x="5413187" y="951270"/>
          <a:ext cx="2506757" cy="37435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8090" tIns="198090" rIns="198090" bIns="396179" numCol="1" spcCol="1270" anchor="t" anchorCtr="0">
          <a:noAutofit/>
        </a:bodyPr>
        <a:lstStyle/>
        <a:p>
          <a:pPr marL="0" lvl="0" indent="0" algn="l" defTabSz="889000">
            <a:lnSpc>
              <a:spcPct val="90000"/>
            </a:lnSpc>
            <a:spcBef>
              <a:spcPct val="0"/>
            </a:spcBef>
            <a:spcAft>
              <a:spcPct val="35000"/>
            </a:spcAft>
            <a:buNone/>
          </a:pPr>
          <a:r>
            <a:rPr lang="en-US" sz="2000" kern="1200"/>
            <a:t>Determine whether the assets should be made public or kept private. You do this when you choose whether each origin should be public or private</a:t>
          </a:r>
        </a:p>
      </dsp:txBody>
      <dsp:txXfrm>
        <a:off x="5413187" y="951270"/>
        <a:ext cx="2506757" cy="3743512"/>
      </dsp:txXfrm>
    </dsp:sp>
    <dsp:sp modelId="{AC181963-2F69-4389-B9D7-1E2E7C3D4D27}">
      <dsp:nvSpPr>
        <dsp:cNvPr id="0" name=""/>
        <dsp:cNvSpPr/>
      </dsp:nvSpPr>
      <dsp:spPr>
        <a:xfrm>
          <a:off x="8113515" y="124866"/>
          <a:ext cx="2754678" cy="826403"/>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02038" tIns="102038" rIns="102038" bIns="102038" numCol="1" spcCol="1270" anchor="ctr" anchorCtr="0">
          <a:noAutofit/>
        </a:bodyPr>
        <a:lstStyle/>
        <a:p>
          <a:pPr marL="0" lvl="0" indent="0" algn="ctr" defTabSz="1244600">
            <a:lnSpc>
              <a:spcPct val="90000"/>
            </a:lnSpc>
            <a:spcBef>
              <a:spcPct val="0"/>
            </a:spcBef>
            <a:spcAft>
              <a:spcPct val="35000"/>
            </a:spcAft>
            <a:buNone/>
          </a:pPr>
          <a:r>
            <a:rPr lang="en-US" sz="2800" kern="1200"/>
            <a:t>Have</a:t>
          </a:r>
        </a:p>
      </dsp:txBody>
      <dsp:txXfrm>
        <a:off x="8361436" y="124866"/>
        <a:ext cx="2258836" cy="826403"/>
      </dsp:txXfrm>
    </dsp:sp>
    <dsp:sp modelId="{2DE3A0BB-5DEC-486B-ACFE-9B3002EFCA09}">
      <dsp:nvSpPr>
        <dsp:cNvPr id="0" name=""/>
        <dsp:cNvSpPr/>
      </dsp:nvSpPr>
      <dsp:spPr>
        <a:xfrm>
          <a:off x="8113515" y="951270"/>
          <a:ext cx="2506757" cy="37435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8090" tIns="198090" rIns="198090" bIns="396179" numCol="1" spcCol="1270" anchor="t" anchorCtr="0">
          <a:noAutofit/>
        </a:bodyPr>
        <a:lstStyle/>
        <a:p>
          <a:pPr marL="0" lvl="0" indent="0" algn="l" defTabSz="889000">
            <a:lnSpc>
              <a:spcPct val="90000"/>
            </a:lnSpc>
            <a:spcBef>
              <a:spcPct val="0"/>
            </a:spcBef>
            <a:spcAft>
              <a:spcPct val="35000"/>
            </a:spcAft>
            <a:buNone/>
          </a:pPr>
          <a:r>
            <a:rPr lang="en-US" sz="2000" kern="1200"/>
            <a:t>You can have multiple origins in which some are public, and some are private</a:t>
          </a:r>
        </a:p>
      </dsp:txBody>
      <dsp:txXfrm>
        <a:off x="8113515" y="951270"/>
        <a:ext cx="2506757" cy="37435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C11ACC-AAFA-4FAF-BEB7-DAFE4C46EBA9}">
      <dsp:nvSpPr>
        <dsp:cNvPr id="0" name=""/>
        <dsp:cNvSpPr/>
      </dsp:nvSpPr>
      <dsp:spPr>
        <a:xfrm>
          <a:off x="0" y="2353"/>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85C91B-63D4-4FD0-90D4-D370DD7C6F5D}">
      <dsp:nvSpPr>
        <dsp:cNvPr id="0" name=""/>
        <dsp:cNvSpPr/>
      </dsp:nvSpPr>
      <dsp:spPr>
        <a:xfrm>
          <a:off x="0" y="2353"/>
          <a:ext cx="4008036"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The Publishing feature in classic SharePoint Online sites automatically rewrites URLs of assets stored in public origins to their CDN equivalents so that assets are served from the CDN service instead of SharePoint.</a:t>
          </a:r>
        </a:p>
      </dsp:txBody>
      <dsp:txXfrm>
        <a:off x="0" y="2353"/>
        <a:ext cx="4008036" cy="1604981"/>
      </dsp:txXfrm>
    </dsp:sp>
    <dsp:sp modelId="{A3ACE9BC-47DE-4DE5-BC8B-20A19C9CAF78}">
      <dsp:nvSpPr>
        <dsp:cNvPr id="0" name=""/>
        <dsp:cNvSpPr/>
      </dsp:nvSpPr>
      <dsp:spPr>
        <a:xfrm>
          <a:off x="4136820" y="27431"/>
          <a:ext cx="6739674"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a:t>The page hosting the assets must be created and exist in the /Pages library of the site</a:t>
          </a:r>
        </a:p>
      </dsp:txBody>
      <dsp:txXfrm>
        <a:off x="4136820" y="27431"/>
        <a:ext cx="6739674" cy="501556"/>
      </dsp:txXfrm>
    </dsp:sp>
    <dsp:sp modelId="{9A145777-C440-45CA-84E6-87DD4E66C3C6}">
      <dsp:nvSpPr>
        <dsp:cNvPr id="0" name=""/>
        <dsp:cNvSpPr/>
      </dsp:nvSpPr>
      <dsp:spPr>
        <a:xfrm>
          <a:off x="4008036" y="528987"/>
          <a:ext cx="686845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5391EE-D970-47B6-A326-DE5352465169}">
      <dsp:nvSpPr>
        <dsp:cNvPr id="0" name=""/>
        <dsp:cNvSpPr/>
      </dsp:nvSpPr>
      <dsp:spPr>
        <a:xfrm>
          <a:off x="4136820" y="554065"/>
          <a:ext cx="6739674"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dirty="0"/>
            <a:t>The page must be checked-in and published</a:t>
          </a:r>
        </a:p>
      </dsp:txBody>
      <dsp:txXfrm>
        <a:off x="4136820" y="554065"/>
        <a:ext cx="6739674" cy="501556"/>
      </dsp:txXfrm>
    </dsp:sp>
    <dsp:sp modelId="{5ED6B62A-C8A7-4D41-A635-99C4E3BD4E9B}">
      <dsp:nvSpPr>
        <dsp:cNvPr id="0" name=""/>
        <dsp:cNvSpPr/>
      </dsp:nvSpPr>
      <dsp:spPr>
        <a:xfrm>
          <a:off x="4008036" y="1055622"/>
          <a:ext cx="686845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8F1AB4-2D5A-429A-82FB-2A809C7EA06B}">
      <dsp:nvSpPr>
        <dsp:cNvPr id="0" name=""/>
        <dsp:cNvSpPr/>
      </dsp:nvSpPr>
      <dsp:spPr>
        <a:xfrm>
          <a:off x="4136820" y="1080700"/>
          <a:ext cx="6739674" cy="501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a:t>Images must be reference from directly within the HTML of the page and not referenced from a .css or .master page.</a:t>
          </a:r>
        </a:p>
      </dsp:txBody>
      <dsp:txXfrm>
        <a:off x="4136820" y="1080700"/>
        <a:ext cx="6739674" cy="501556"/>
      </dsp:txXfrm>
    </dsp:sp>
    <dsp:sp modelId="{A795CBFD-3725-4611-BE74-287874536C5E}">
      <dsp:nvSpPr>
        <dsp:cNvPr id="0" name=""/>
        <dsp:cNvSpPr/>
      </dsp:nvSpPr>
      <dsp:spPr>
        <a:xfrm>
          <a:off x="4008036" y="1582256"/>
          <a:ext cx="686845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836EE1D-5C17-4F2F-B642-E7E60371B18D}">
      <dsp:nvSpPr>
        <dsp:cNvPr id="0" name=""/>
        <dsp:cNvSpPr/>
      </dsp:nvSpPr>
      <dsp:spPr>
        <a:xfrm>
          <a:off x="0" y="1607334"/>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3AB76B-6BE0-43D0-BE6C-5AB10C1A91C0}">
      <dsp:nvSpPr>
        <dsp:cNvPr id="0" name=""/>
        <dsp:cNvSpPr/>
      </dsp:nvSpPr>
      <dsp:spPr>
        <a:xfrm>
          <a:off x="0" y="1607334"/>
          <a:ext cx="4008036"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If the Publishing feature is not enabled on a site hosting a public origin, you can manually construct URLs to the CDN location of the assets and use these URLs in your content</a:t>
          </a:r>
        </a:p>
      </dsp:txBody>
      <dsp:txXfrm>
        <a:off x="0" y="1607334"/>
        <a:ext cx="4008036" cy="1604981"/>
      </dsp:txXfrm>
    </dsp:sp>
    <dsp:sp modelId="{E493B1E0-F789-4042-8417-3757E2ED2D41}">
      <dsp:nvSpPr>
        <dsp:cNvPr id="0" name=""/>
        <dsp:cNvSpPr/>
      </dsp:nvSpPr>
      <dsp:spPr>
        <a:xfrm>
          <a:off x="4136820" y="1680216"/>
          <a:ext cx="6739674"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kern="1200"/>
            <a:t>https://publiccdn.sharepointonline.com/&lt;TenantHostName&gt;/sites/site/library/asset.png</a:t>
          </a:r>
        </a:p>
      </dsp:txBody>
      <dsp:txXfrm>
        <a:off x="4136820" y="1680216"/>
        <a:ext cx="6739674" cy="1457648"/>
      </dsp:txXfrm>
    </dsp:sp>
    <dsp:sp modelId="{FD80EF98-3A11-434C-985D-CA87AD9353C6}">
      <dsp:nvSpPr>
        <dsp:cNvPr id="0" name=""/>
        <dsp:cNvSpPr/>
      </dsp:nvSpPr>
      <dsp:spPr>
        <a:xfrm>
          <a:off x="4008036" y="3137865"/>
          <a:ext cx="686845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D82BF2-6239-4EEF-BE9E-0C3A1D33A038}">
      <dsp:nvSpPr>
        <dsp:cNvPr id="0" name=""/>
        <dsp:cNvSpPr/>
      </dsp:nvSpPr>
      <dsp:spPr>
        <a:xfrm>
          <a:off x="0" y="3212315"/>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E2E4A9-4A3B-4B10-A412-F4AB6DA8B977}">
      <dsp:nvSpPr>
        <dsp:cNvPr id="0" name=""/>
        <dsp:cNvSpPr/>
      </dsp:nvSpPr>
      <dsp:spPr>
        <a:xfrm>
          <a:off x="0" y="3212315"/>
          <a:ext cx="4120378"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If you remove an asset from a public origin, the asset may continue to be available for up to 30 days from the cache; however, you will invalidate links to the asset in the CDN within 15 minutes</a:t>
          </a:r>
        </a:p>
      </dsp:txBody>
      <dsp:txXfrm>
        <a:off x="0" y="3212315"/>
        <a:ext cx="4120378" cy="16049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6584DA-524D-4B49-9DEA-8DF3CE2D8CCD}">
      <dsp:nvSpPr>
        <dsp:cNvPr id="0" name=""/>
        <dsp:cNvSpPr/>
      </dsp:nvSpPr>
      <dsp:spPr>
        <a:xfrm>
          <a:off x="0" y="502"/>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7DFE39-5F95-49E5-8CFB-22FA4667B8EC}">
      <dsp:nvSpPr>
        <dsp:cNvPr id="0" name=""/>
        <dsp:cNvSpPr/>
      </dsp:nvSpPr>
      <dsp:spPr>
        <a:xfrm>
          <a:off x="0" y="502"/>
          <a:ext cx="10880725" cy="822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TenantCdnEnabled</a:t>
          </a:r>
          <a:r>
            <a:rPr lang="en-US" sz="2500" kern="1200" dirty="0"/>
            <a:t> -</a:t>
          </a:r>
          <a:r>
            <a:rPr lang="en-US" sz="2500" kern="1200" dirty="0" err="1"/>
            <a:t>CdnType</a:t>
          </a:r>
          <a:r>
            <a:rPr lang="en-US" sz="2500" kern="1200" dirty="0"/>
            <a:t> &lt;Public | Private | Both&gt; -Enable $true</a:t>
          </a:r>
          <a:endParaRPr lang="nb-NO" sz="2500" kern="1200" dirty="0"/>
        </a:p>
      </dsp:txBody>
      <dsp:txXfrm>
        <a:off x="0" y="502"/>
        <a:ext cx="10880725" cy="822607"/>
      </dsp:txXfrm>
    </dsp:sp>
    <dsp:sp modelId="{2B6103BC-0760-4276-8A3A-D5D2C84B5734}">
      <dsp:nvSpPr>
        <dsp:cNvPr id="0" name=""/>
        <dsp:cNvSpPr/>
      </dsp:nvSpPr>
      <dsp:spPr>
        <a:xfrm>
          <a:off x="0" y="823109"/>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D7054C-9095-4B1D-8F13-911141949FDA}">
      <dsp:nvSpPr>
        <dsp:cNvPr id="0" name=""/>
        <dsp:cNvSpPr/>
      </dsp:nvSpPr>
      <dsp:spPr>
        <a:xfrm>
          <a:off x="0" y="823109"/>
          <a:ext cx="10880725" cy="822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TenantCdnEnabled</a:t>
          </a:r>
          <a:r>
            <a:rPr lang="en-US" sz="2500" kern="1200" dirty="0"/>
            <a:t> -</a:t>
          </a:r>
          <a:r>
            <a:rPr lang="en-US" sz="2500" kern="1200" dirty="0" err="1"/>
            <a:t>CdnType</a:t>
          </a:r>
          <a:r>
            <a:rPr lang="en-US" sz="2500" kern="1200" dirty="0"/>
            <a:t> Both -Enable $true</a:t>
          </a:r>
        </a:p>
      </dsp:txBody>
      <dsp:txXfrm>
        <a:off x="0" y="823109"/>
        <a:ext cx="10880725" cy="822607"/>
      </dsp:txXfrm>
    </dsp:sp>
    <dsp:sp modelId="{10F04D1F-6356-4752-887B-CD7A3E2E0497}">
      <dsp:nvSpPr>
        <dsp:cNvPr id="0" name=""/>
        <dsp:cNvSpPr/>
      </dsp:nvSpPr>
      <dsp:spPr>
        <a:xfrm>
          <a:off x="0" y="1645716"/>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8314E7-759C-41CA-B713-B84430751291}">
      <dsp:nvSpPr>
        <dsp:cNvPr id="0" name=""/>
        <dsp:cNvSpPr/>
      </dsp:nvSpPr>
      <dsp:spPr>
        <a:xfrm>
          <a:off x="0" y="1645716"/>
          <a:ext cx="10880725" cy="822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TenantCdnEnabled</a:t>
          </a:r>
          <a:r>
            <a:rPr lang="en-US" sz="2500" kern="1200" dirty="0"/>
            <a:t> -</a:t>
          </a:r>
          <a:r>
            <a:rPr lang="en-US" sz="2500" kern="1200" dirty="0" err="1"/>
            <a:t>CdnType</a:t>
          </a:r>
          <a:r>
            <a:rPr lang="en-US" sz="2500" kern="1200" dirty="0"/>
            <a:t> Both -Enable $true –</a:t>
          </a:r>
          <a:r>
            <a:rPr lang="en-US" sz="2500" kern="1200" dirty="0" err="1"/>
            <a:t>NoDefaultOrigins</a:t>
          </a:r>
          <a:endParaRPr lang="nb-NO" sz="2500" kern="1200" dirty="0"/>
        </a:p>
      </dsp:txBody>
      <dsp:txXfrm>
        <a:off x="0" y="1645716"/>
        <a:ext cx="10880725" cy="822607"/>
      </dsp:txXfrm>
    </dsp:sp>
    <dsp:sp modelId="{DEFFADE9-CD03-46D0-923D-5980512DFC5C}">
      <dsp:nvSpPr>
        <dsp:cNvPr id="0" name=""/>
        <dsp:cNvSpPr/>
      </dsp:nvSpPr>
      <dsp:spPr>
        <a:xfrm>
          <a:off x="0" y="2468324"/>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4CC79B-A282-4DD5-B59A-0717D8D42DCE}">
      <dsp:nvSpPr>
        <dsp:cNvPr id="0" name=""/>
        <dsp:cNvSpPr/>
      </dsp:nvSpPr>
      <dsp:spPr>
        <a:xfrm>
          <a:off x="0" y="2468324"/>
          <a:ext cx="10880725" cy="822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TenantCdnEnabled</a:t>
          </a:r>
          <a:r>
            <a:rPr lang="en-US" sz="2500" kern="1200" dirty="0"/>
            <a:t> -</a:t>
          </a:r>
          <a:r>
            <a:rPr lang="en-US" sz="2500" kern="1200" dirty="0" err="1"/>
            <a:t>CdnType</a:t>
          </a:r>
          <a:r>
            <a:rPr lang="en-US" sz="2500" kern="1200" dirty="0"/>
            <a:t> Public -Enable $true</a:t>
          </a:r>
        </a:p>
      </dsp:txBody>
      <dsp:txXfrm>
        <a:off x="0" y="2468324"/>
        <a:ext cx="10880725" cy="822607"/>
      </dsp:txXfrm>
    </dsp:sp>
    <dsp:sp modelId="{51E2C68D-41AA-4832-AFFD-BCD7F5C3D61A}">
      <dsp:nvSpPr>
        <dsp:cNvPr id="0" name=""/>
        <dsp:cNvSpPr/>
      </dsp:nvSpPr>
      <dsp:spPr>
        <a:xfrm>
          <a:off x="0" y="3290931"/>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B2340A-3435-4333-82AD-485F2AD68472}">
      <dsp:nvSpPr>
        <dsp:cNvPr id="0" name=""/>
        <dsp:cNvSpPr/>
      </dsp:nvSpPr>
      <dsp:spPr>
        <a:xfrm>
          <a:off x="0" y="3290931"/>
          <a:ext cx="10880725" cy="8226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TenantCdnEnabled</a:t>
          </a:r>
          <a:r>
            <a:rPr lang="en-US" sz="2500" kern="1200" dirty="0"/>
            <a:t> -</a:t>
          </a:r>
          <a:r>
            <a:rPr lang="en-US" sz="2500" kern="1200" dirty="0" err="1"/>
            <a:t>CdnType</a:t>
          </a:r>
          <a:r>
            <a:rPr lang="en-US" sz="2500" kern="1200" dirty="0"/>
            <a:t> Private -Enable $true</a:t>
          </a:r>
        </a:p>
      </dsp:txBody>
      <dsp:txXfrm>
        <a:off x="0" y="3290931"/>
        <a:ext cx="10880725" cy="8226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3195AE-EAB1-4AA9-A31B-305F0CFF36A3}">
      <dsp:nvSpPr>
        <dsp:cNvPr id="0" name=""/>
        <dsp:cNvSpPr/>
      </dsp:nvSpPr>
      <dsp:spPr>
        <a:xfrm>
          <a:off x="45" y="18430"/>
          <a:ext cx="4324125" cy="124210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a:t>Default private origins:</a:t>
          </a:r>
        </a:p>
      </dsp:txBody>
      <dsp:txXfrm>
        <a:off x="45" y="18430"/>
        <a:ext cx="4324125" cy="1242103"/>
      </dsp:txXfrm>
    </dsp:sp>
    <dsp:sp modelId="{00E936B9-39FF-4397-970E-0A1F925EDE90}">
      <dsp:nvSpPr>
        <dsp:cNvPr id="0" name=""/>
        <dsp:cNvSpPr/>
      </dsp:nvSpPr>
      <dsp:spPr>
        <a:xfrm>
          <a:off x="45" y="1260534"/>
          <a:ext cx="4324125" cy="18446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en-US" sz="3200" kern="1200"/>
            <a:t>*/userphoto.aspx</a:t>
          </a:r>
        </a:p>
        <a:p>
          <a:pPr marL="285750" lvl="1" indent="-285750" algn="l" defTabSz="1422400">
            <a:lnSpc>
              <a:spcPct val="90000"/>
            </a:lnSpc>
            <a:spcBef>
              <a:spcPct val="0"/>
            </a:spcBef>
            <a:spcAft>
              <a:spcPct val="15000"/>
            </a:spcAft>
            <a:buChar char="•"/>
          </a:pPr>
          <a:r>
            <a:rPr lang="en-US" sz="3200" kern="1200"/>
            <a:t>*/siteassets</a:t>
          </a:r>
        </a:p>
      </dsp:txBody>
      <dsp:txXfrm>
        <a:off x="45" y="1260534"/>
        <a:ext cx="4324125" cy="1844640"/>
      </dsp:txXfrm>
    </dsp:sp>
    <dsp:sp modelId="{54F7EFE5-0A07-4B70-B10A-F08125A37412}">
      <dsp:nvSpPr>
        <dsp:cNvPr id="0" name=""/>
        <dsp:cNvSpPr/>
      </dsp:nvSpPr>
      <dsp:spPr>
        <a:xfrm>
          <a:off x="4929548" y="18430"/>
          <a:ext cx="4324125" cy="124210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a:t>Default public origins:</a:t>
          </a:r>
        </a:p>
      </dsp:txBody>
      <dsp:txXfrm>
        <a:off x="4929548" y="18430"/>
        <a:ext cx="4324125" cy="1242103"/>
      </dsp:txXfrm>
    </dsp:sp>
    <dsp:sp modelId="{B6F79A4F-2329-438D-8841-FCA77F9A4825}">
      <dsp:nvSpPr>
        <dsp:cNvPr id="0" name=""/>
        <dsp:cNvSpPr/>
      </dsp:nvSpPr>
      <dsp:spPr>
        <a:xfrm>
          <a:off x="4929548" y="1260534"/>
          <a:ext cx="4324125" cy="18446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en-US" sz="3200" kern="1200"/>
            <a:t>*/masterpage</a:t>
          </a:r>
        </a:p>
        <a:p>
          <a:pPr marL="285750" lvl="1" indent="-285750" algn="l" defTabSz="1422400">
            <a:lnSpc>
              <a:spcPct val="90000"/>
            </a:lnSpc>
            <a:spcBef>
              <a:spcPct val="0"/>
            </a:spcBef>
            <a:spcAft>
              <a:spcPct val="15000"/>
            </a:spcAft>
            <a:buChar char="•"/>
          </a:pPr>
          <a:r>
            <a:rPr lang="en-US" sz="3200" kern="1200"/>
            <a:t>*/style library</a:t>
          </a:r>
        </a:p>
      </dsp:txBody>
      <dsp:txXfrm>
        <a:off x="4929548" y="1260534"/>
        <a:ext cx="4324125" cy="18446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D0A7D-79F6-4DB4-8066-5AB460FE4E10}">
      <dsp:nvSpPr>
        <dsp:cNvPr id="0" name=""/>
        <dsp:cNvSpPr/>
      </dsp:nvSpPr>
      <dsp:spPr>
        <a:xfrm>
          <a:off x="9563" y="68557"/>
          <a:ext cx="2858315" cy="179537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dirty="0"/>
            <a:t>Use the Add-</a:t>
          </a:r>
          <a:r>
            <a:rPr lang="en-US" sz="1600" kern="1200" baseline="0" dirty="0" err="1"/>
            <a:t>SPOTenantCdnOrigin</a:t>
          </a:r>
          <a:r>
            <a:rPr lang="en-US" sz="1600" kern="1200" baseline="0" dirty="0"/>
            <a:t> cmdlet to define an origin</a:t>
          </a:r>
          <a:endParaRPr lang="en-US" sz="1600" kern="1200" dirty="0"/>
        </a:p>
      </dsp:txBody>
      <dsp:txXfrm>
        <a:off x="62148" y="121142"/>
        <a:ext cx="2753145" cy="1690209"/>
      </dsp:txXfrm>
    </dsp:sp>
    <dsp:sp modelId="{B8C87AE5-049C-49ED-93B5-9B28AAC2D0D8}">
      <dsp:nvSpPr>
        <dsp:cNvPr id="0" name=""/>
        <dsp:cNvSpPr/>
      </dsp:nvSpPr>
      <dsp:spPr>
        <a:xfrm>
          <a:off x="3153710" y="611815"/>
          <a:ext cx="605962" cy="708862"/>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153710" y="753587"/>
        <a:ext cx="424173" cy="425318"/>
      </dsp:txXfrm>
    </dsp:sp>
    <dsp:sp modelId="{BB130FC0-D515-426F-96C7-F368CA7A25B6}">
      <dsp:nvSpPr>
        <dsp:cNvPr id="0" name=""/>
        <dsp:cNvSpPr/>
      </dsp:nvSpPr>
      <dsp:spPr>
        <a:xfrm>
          <a:off x="4011204" y="68557"/>
          <a:ext cx="2858315" cy="179537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You can define multiple origins. The origin is a URL that points to a SharePoint library or folder that contains the assets that you want to be hosted by the CDN.</a:t>
          </a:r>
          <a:endParaRPr lang="en-US" sz="1600" kern="1200"/>
        </a:p>
      </dsp:txBody>
      <dsp:txXfrm>
        <a:off x="4063789" y="121142"/>
        <a:ext cx="2753145" cy="1690209"/>
      </dsp:txXfrm>
    </dsp:sp>
    <dsp:sp modelId="{9B6A1F89-7196-4FFC-B718-20D6200D3676}">
      <dsp:nvSpPr>
        <dsp:cNvPr id="0" name=""/>
        <dsp:cNvSpPr/>
      </dsp:nvSpPr>
      <dsp:spPr>
        <a:xfrm>
          <a:off x="7155351" y="611815"/>
          <a:ext cx="605962" cy="708862"/>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7155351" y="753587"/>
        <a:ext cx="424173" cy="425318"/>
      </dsp:txXfrm>
    </dsp:sp>
    <dsp:sp modelId="{314F861C-59D3-40AB-8A26-1F29DC4E8C8C}">
      <dsp:nvSpPr>
        <dsp:cNvPr id="0" name=""/>
        <dsp:cNvSpPr/>
      </dsp:nvSpPr>
      <dsp:spPr>
        <a:xfrm>
          <a:off x="8012846" y="68557"/>
          <a:ext cx="2858315" cy="179537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baseline="0"/>
            <a:t>Add-SPOTenantCdnOrigin -CdnType &lt;Public | Private&gt; -OriginUrl &lt;path &gt;</a:t>
          </a:r>
          <a:endParaRPr lang="en-US" sz="1600" kern="1200"/>
        </a:p>
        <a:p>
          <a:pPr marL="114300" lvl="1" indent="-114300" algn="l" defTabSz="533400">
            <a:lnSpc>
              <a:spcPct val="90000"/>
            </a:lnSpc>
            <a:spcBef>
              <a:spcPct val="0"/>
            </a:spcBef>
            <a:spcAft>
              <a:spcPct val="15000"/>
            </a:spcAft>
            <a:buChar char="•"/>
          </a:pPr>
          <a:r>
            <a:rPr lang="en-US" sz="1200" kern="1200" baseline="0"/>
            <a:t>Where path is the path to the folder that contains the assets. You can use wildcards in addition to relative paths.</a:t>
          </a:r>
          <a:endParaRPr lang="en-US" sz="1200" kern="1200"/>
        </a:p>
      </dsp:txBody>
      <dsp:txXfrm>
        <a:off x="8065431" y="121142"/>
        <a:ext cx="2753145" cy="169020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FE6601-3FD9-46B6-A11B-2CC509D94637}">
      <dsp:nvSpPr>
        <dsp:cNvPr id="0" name=""/>
        <dsp:cNvSpPr/>
      </dsp:nvSpPr>
      <dsp:spPr>
        <a:xfrm>
          <a:off x="0" y="281"/>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519DEB-EEC7-4295-84C4-86F531377013}">
      <dsp:nvSpPr>
        <dsp:cNvPr id="0" name=""/>
        <dsp:cNvSpPr/>
      </dsp:nvSpPr>
      <dsp:spPr>
        <a:xfrm>
          <a:off x="0" y="281"/>
          <a:ext cx="10880725" cy="461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For example: </a:t>
          </a:r>
          <a:endParaRPr lang="en-US" sz="2000" kern="1200"/>
        </a:p>
      </dsp:txBody>
      <dsp:txXfrm>
        <a:off x="0" y="281"/>
        <a:ext cx="10880725" cy="461552"/>
      </dsp:txXfrm>
    </dsp:sp>
    <dsp:sp modelId="{8172A1BD-A056-4D79-82EB-0477D654CD75}">
      <dsp:nvSpPr>
        <dsp:cNvPr id="0" name=""/>
        <dsp:cNvSpPr/>
      </dsp:nvSpPr>
      <dsp:spPr>
        <a:xfrm>
          <a:off x="0" y="461833"/>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16DF77-268D-4E6C-8A63-F642D4799B17}">
      <dsp:nvSpPr>
        <dsp:cNvPr id="0" name=""/>
        <dsp:cNvSpPr/>
      </dsp:nvSpPr>
      <dsp:spPr>
        <a:xfrm>
          <a:off x="0" y="461833"/>
          <a:ext cx="10880725" cy="461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Add-SPOTenantCdnOrigin -CdnType Public -OriginUrl */masterpage</a:t>
          </a:r>
          <a:endParaRPr lang="en-US" sz="2000" kern="1200"/>
        </a:p>
      </dsp:txBody>
      <dsp:txXfrm>
        <a:off x="0" y="461833"/>
        <a:ext cx="10880725" cy="461552"/>
      </dsp:txXfrm>
    </dsp:sp>
    <dsp:sp modelId="{B021643C-D2C7-4358-A519-A39D51499F3F}">
      <dsp:nvSpPr>
        <dsp:cNvPr id="0" name=""/>
        <dsp:cNvSpPr/>
      </dsp:nvSpPr>
      <dsp:spPr>
        <a:xfrm>
          <a:off x="0" y="923385"/>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0056B4-3D15-4F45-9363-C9C841E64E55}">
      <dsp:nvSpPr>
        <dsp:cNvPr id="0" name=""/>
        <dsp:cNvSpPr/>
      </dsp:nvSpPr>
      <dsp:spPr>
        <a:xfrm>
          <a:off x="0" y="923385"/>
          <a:ext cx="10880725" cy="461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Add-SPOTenantCdnOrigin -CdnType Private -OriginUrl */publishingimages</a:t>
          </a:r>
          <a:endParaRPr lang="en-US" sz="2000" kern="1200"/>
        </a:p>
      </dsp:txBody>
      <dsp:txXfrm>
        <a:off x="0" y="923385"/>
        <a:ext cx="10880725" cy="461552"/>
      </dsp:txXfrm>
    </dsp:sp>
    <dsp:sp modelId="{379701AE-1082-4689-B60E-91A7B0F02EB8}">
      <dsp:nvSpPr>
        <dsp:cNvPr id="0" name=""/>
        <dsp:cNvSpPr/>
      </dsp:nvSpPr>
      <dsp:spPr>
        <a:xfrm>
          <a:off x="0" y="1384938"/>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BE7067-9EAE-44F9-B430-B20CC9AA8150}">
      <dsp:nvSpPr>
        <dsp:cNvPr id="0" name=""/>
        <dsp:cNvSpPr/>
      </dsp:nvSpPr>
      <dsp:spPr>
        <a:xfrm>
          <a:off x="0" y="1384938"/>
          <a:ext cx="10880725" cy="461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You can also define a site collection as a private origin</a:t>
          </a:r>
          <a:endParaRPr lang="en-US" sz="2000" kern="1200"/>
        </a:p>
      </dsp:txBody>
      <dsp:txXfrm>
        <a:off x="0" y="1384938"/>
        <a:ext cx="10880725" cy="461552"/>
      </dsp:txXfrm>
    </dsp:sp>
    <dsp:sp modelId="{31016602-9C5F-437D-BCEF-CB3E9871A8D4}">
      <dsp:nvSpPr>
        <dsp:cNvPr id="0" name=""/>
        <dsp:cNvSpPr/>
      </dsp:nvSpPr>
      <dsp:spPr>
        <a:xfrm>
          <a:off x="0" y="1846490"/>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08DE00-B115-4FE3-847F-E719E14E7B85}">
      <dsp:nvSpPr>
        <dsp:cNvPr id="0" name=""/>
        <dsp:cNvSpPr/>
      </dsp:nvSpPr>
      <dsp:spPr>
        <a:xfrm>
          <a:off x="0" y="1846490"/>
          <a:ext cx="10880725" cy="461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Add-SPOTenantCdnOrigin -CdnType Private -OriginUrl sites/site1/siteassets</a:t>
          </a:r>
          <a:endParaRPr lang="en-US" sz="2000" kern="1200"/>
        </a:p>
      </dsp:txBody>
      <dsp:txXfrm>
        <a:off x="0" y="1846490"/>
        <a:ext cx="10880725" cy="4615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3728D2-BE07-42D7-BBFE-A8F805D611E2}">
      <dsp:nvSpPr>
        <dsp:cNvPr id="0" name=""/>
        <dsp:cNvSpPr/>
      </dsp:nvSpPr>
      <dsp:spPr>
        <a:xfrm>
          <a:off x="0" y="0"/>
          <a:ext cx="8704580" cy="1060323"/>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Use the Set-</a:t>
          </a:r>
          <a:r>
            <a:rPr lang="en-US" sz="1400" kern="1200" dirty="0" err="1"/>
            <a:t>SPOTenantCdnPolicy</a:t>
          </a:r>
          <a:r>
            <a:rPr lang="en-US" sz="1400" kern="1200" dirty="0"/>
            <a:t> cmdlet to define static file types that can be hosted by public and private origins in the CDN. By default, common asset types are allowed, for example .</a:t>
          </a:r>
          <a:r>
            <a:rPr lang="en-US" sz="1400" kern="1200" dirty="0" err="1"/>
            <a:t>css</a:t>
          </a:r>
          <a:r>
            <a:rPr lang="en-US" sz="1400" kern="1200" dirty="0"/>
            <a:t>, .gif, .jpg, and .</a:t>
          </a:r>
          <a:r>
            <a:rPr lang="en-US" sz="1400" kern="1200" dirty="0" err="1"/>
            <a:t>js</a:t>
          </a:r>
          <a:r>
            <a:rPr lang="en-US" sz="1400" kern="1200" dirty="0"/>
            <a:t>.</a:t>
          </a:r>
        </a:p>
      </dsp:txBody>
      <dsp:txXfrm>
        <a:off x="31056" y="31056"/>
        <a:ext cx="7470811" cy="998211"/>
      </dsp:txXfrm>
    </dsp:sp>
    <dsp:sp modelId="{AC4DC9FE-1AE7-46A2-B77A-C3E623202190}">
      <dsp:nvSpPr>
        <dsp:cNvPr id="0" name=""/>
        <dsp:cNvSpPr/>
      </dsp:nvSpPr>
      <dsp:spPr>
        <a:xfrm>
          <a:off x="729008" y="1253109"/>
          <a:ext cx="8704580" cy="1060323"/>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Set-SPOTenantCdnPolicy -CdnType &lt;Public | Private&gt; -PolicyType IncludeFileExtensions -PolicyValue "&lt;Comma-separated list of file types &gt;"</a:t>
          </a:r>
        </a:p>
      </dsp:txBody>
      <dsp:txXfrm>
        <a:off x="760064" y="1284165"/>
        <a:ext cx="7224250" cy="998210"/>
      </dsp:txXfrm>
    </dsp:sp>
    <dsp:sp modelId="{3836D900-1855-40D9-99B4-AF28485E4EB9}">
      <dsp:nvSpPr>
        <dsp:cNvPr id="0" name=""/>
        <dsp:cNvSpPr/>
      </dsp:nvSpPr>
      <dsp:spPr>
        <a:xfrm>
          <a:off x="1447136" y="2506218"/>
          <a:ext cx="8704580" cy="1060323"/>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When you define file types by using the Set-SPOTenantCdnPolicy cmdlet, you overwrite the currently defined list. If you want to add additional file types to the list, use the cmdlet first to find out what file types are already allowed and include them in the list along with your new ones.</a:t>
          </a:r>
        </a:p>
      </dsp:txBody>
      <dsp:txXfrm>
        <a:off x="1478192" y="2537274"/>
        <a:ext cx="7235130" cy="998211"/>
      </dsp:txXfrm>
    </dsp:sp>
    <dsp:sp modelId="{3EAD8F9A-6541-4EFF-A952-57D3ED87D94B}">
      <dsp:nvSpPr>
        <dsp:cNvPr id="0" name=""/>
        <dsp:cNvSpPr/>
      </dsp:nvSpPr>
      <dsp:spPr>
        <a:xfrm>
          <a:off x="2176145" y="3759327"/>
          <a:ext cx="8704580" cy="1060323"/>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a:t>Get-SPOTenantCdnPolicies -CdnType &lt;Public | Private&gt;</a:t>
          </a:r>
        </a:p>
      </dsp:txBody>
      <dsp:txXfrm>
        <a:off x="2207201" y="3790383"/>
        <a:ext cx="7224250" cy="998211"/>
      </dsp:txXfrm>
    </dsp:sp>
    <dsp:sp modelId="{60E64526-2307-4CF6-A6F2-28432988F694}">
      <dsp:nvSpPr>
        <dsp:cNvPr id="0" name=""/>
        <dsp:cNvSpPr/>
      </dsp:nvSpPr>
      <dsp:spPr>
        <a:xfrm>
          <a:off x="8015370" y="812111"/>
          <a:ext cx="689209" cy="689209"/>
        </a:xfrm>
        <a:prstGeom prst="downArrow">
          <a:avLst>
            <a:gd name="adj1" fmla="val 55000"/>
            <a:gd name="adj2" fmla="val 45000"/>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170442" y="812111"/>
        <a:ext cx="379065" cy="518630"/>
      </dsp:txXfrm>
    </dsp:sp>
    <dsp:sp modelId="{0656C4D4-D408-4696-91CE-215EDEE657EB}">
      <dsp:nvSpPr>
        <dsp:cNvPr id="0" name=""/>
        <dsp:cNvSpPr/>
      </dsp:nvSpPr>
      <dsp:spPr>
        <a:xfrm>
          <a:off x="8744379" y="2065220"/>
          <a:ext cx="689209" cy="689209"/>
        </a:xfrm>
        <a:prstGeom prst="downArrow">
          <a:avLst>
            <a:gd name="adj1" fmla="val 55000"/>
            <a:gd name="adj2" fmla="val 45000"/>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899451" y="2065220"/>
        <a:ext cx="379065" cy="518630"/>
      </dsp:txXfrm>
    </dsp:sp>
    <dsp:sp modelId="{34EB558D-CBEE-414F-A31F-E6636201DCB4}">
      <dsp:nvSpPr>
        <dsp:cNvPr id="0" name=""/>
        <dsp:cNvSpPr/>
      </dsp:nvSpPr>
      <dsp:spPr>
        <a:xfrm>
          <a:off x="9462507" y="3318329"/>
          <a:ext cx="689209" cy="689209"/>
        </a:xfrm>
        <a:prstGeom prst="downArrow">
          <a:avLst>
            <a:gd name="adj1" fmla="val 55000"/>
            <a:gd name="adj2" fmla="val 45000"/>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9617579" y="3318329"/>
        <a:ext cx="379065" cy="5186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B7BF28-9EB4-4EAF-A69D-58B0FE84BB9E}">
      <dsp:nvSpPr>
        <dsp:cNvPr id="0" name=""/>
        <dsp:cNvSpPr/>
      </dsp:nvSpPr>
      <dsp:spPr>
        <a:xfrm>
          <a:off x="0" y="464112"/>
          <a:ext cx="10880725" cy="1027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icrosoft Edge Developer Tools and the Page Diagnostic tool for SharePoint Online</a:t>
          </a:r>
          <a:endParaRPr lang="nb-NO" sz="1800" kern="1200" dirty="0"/>
        </a:p>
      </dsp:txBody>
      <dsp:txXfrm>
        <a:off x="0" y="464112"/>
        <a:ext cx="10880725" cy="1027687"/>
      </dsp:txXfrm>
    </dsp:sp>
    <dsp:sp modelId="{ADB983CD-EF20-471C-964F-B520DCF4D3FE}">
      <dsp:nvSpPr>
        <dsp:cNvPr id="0" name=""/>
        <dsp:cNvSpPr/>
      </dsp:nvSpPr>
      <dsp:spPr>
        <a:xfrm>
          <a:off x="544036" y="36072"/>
          <a:ext cx="7616507" cy="8560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two Microsoft tools can be used to analyze and diagnose classic site page performance in SharePoint Online?</a:t>
          </a:r>
          <a:endParaRPr lang="nb-NO" sz="1800" kern="1200" dirty="0"/>
        </a:p>
      </dsp:txBody>
      <dsp:txXfrm>
        <a:off x="585826" y="77862"/>
        <a:ext cx="7532927" cy="772500"/>
      </dsp:txXfrm>
    </dsp:sp>
    <dsp:sp modelId="{FB3F1349-3785-4E6E-9708-EBE55C1DC01C}">
      <dsp:nvSpPr>
        <dsp:cNvPr id="0" name=""/>
        <dsp:cNvSpPr/>
      </dsp:nvSpPr>
      <dsp:spPr>
        <a:xfrm>
          <a:off x="0" y="2076440"/>
          <a:ext cx="10880725" cy="1027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Public and Private </a:t>
          </a:r>
        </a:p>
      </dsp:txBody>
      <dsp:txXfrm>
        <a:off x="0" y="2076440"/>
        <a:ext cx="10880725" cy="1027687"/>
      </dsp:txXfrm>
    </dsp:sp>
    <dsp:sp modelId="{FB9B9A09-DE7B-42EC-B9DE-EC481931C524}">
      <dsp:nvSpPr>
        <dsp:cNvPr id="0" name=""/>
        <dsp:cNvSpPr/>
      </dsp:nvSpPr>
      <dsp:spPr>
        <a:xfrm>
          <a:off x="544036" y="1648400"/>
          <a:ext cx="7616507" cy="8560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two types of CDNs are available in Microsoft 365? </a:t>
          </a:r>
          <a:endParaRPr lang="nb-NO" sz="1800" kern="1200" dirty="0"/>
        </a:p>
      </dsp:txBody>
      <dsp:txXfrm>
        <a:off x="585826" y="1690190"/>
        <a:ext cx="7532927" cy="772500"/>
      </dsp:txXfrm>
    </dsp:sp>
    <dsp:sp modelId="{19D83D99-684B-4D85-A42D-E1927F006482}">
      <dsp:nvSpPr>
        <dsp:cNvPr id="0" name=""/>
        <dsp:cNvSpPr/>
      </dsp:nvSpPr>
      <dsp:spPr>
        <a:xfrm>
          <a:off x="0" y="3688767"/>
          <a:ext cx="10880725" cy="1027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04012"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dd-</a:t>
          </a:r>
          <a:r>
            <a:rPr lang="en-US" sz="1800" kern="1200" dirty="0" err="1"/>
            <a:t>SPOTenantCDNOrigin</a:t>
          </a:r>
          <a:endParaRPr lang="nb-NO" sz="1800" kern="1200" dirty="0"/>
        </a:p>
      </dsp:txBody>
      <dsp:txXfrm>
        <a:off x="0" y="3688767"/>
        <a:ext cx="10880725" cy="1027687"/>
      </dsp:txXfrm>
    </dsp:sp>
    <dsp:sp modelId="{BD4E8ECE-7125-4BA4-A023-9F900BC521BD}">
      <dsp:nvSpPr>
        <dsp:cNvPr id="0" name=""/>
        <dsp:cNvSpPr/>
      </dsp:nvSpPr>
      <dsp:spPr>
        <a:xfrm>
          <a:off x="544036" y="3260727"/>
          <a:ext cx="7616507" cy="85608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PowerShell command is used to add a new CDN origin to a tenant? </a:t>
          </a:r>
          <a:endParaRPr lang="nb-NO" sz="1800" kern="1200" dirty="0"/>
        </a:p>
      </dsp:txBody>
      <dsp:txXfrm>
        <a:off x="585826" y="3302517"/>
        <a:ext cx="7532927" cy="772500"/>
      </dsp:txXfrm>
    </dsp:sp>
  </dsp:spTree>
</dsp:drawing>
</file>

<file path=ppt/diagrams/layout1.xml><?xml version="1.0" encoding="utf-8"?>
<dgm:layoutDef xmlns:dgm="http://schemas.openxmlformats.org/drawingml/2006/diagram" xmlns:a="http://schemas.openxmlformats.org/drawingml/2006/main" uniqueId="urn:microsoft.com/office/officeart/2016/7/layout/ChevronBlockProcess">
  <dgm:title val="Chevron Block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28"/>
      <dgm:constr type="primFontSz" for="des" forName="desTx" refType="primFontSz" refFor="des" refForName="parTx" op="lte" fact="0.75"/>
      <dgm:constr type="h" for="des" forName="desTx" op="equ"/>
      <dgm:constr type="w" for="ch" forName="space" refType="w" op="equ" fact="-0.005"/>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91"/>
              <dgm:constr type="t" for="ch" forName="desTx" refType="h" refFor="ch" refForName="parTx"/>
            </dgm:constrLst>
          </dgm:if>
          <dgm:else name="Name9">
            <dgm:constrLst>
              <dgm:constr type="l" for="ch" forName="parTx"/>
              <dgm:constr type="w" for="ch" forName="parTx" refType="w"/>
              <dgm:constr type="t" for="ch" forName="parTx"/>
              <dgm:constr type="l" for="ch" forName="desTx" refType="w" fact="0.09"/>
              <dgm:constr type="w" for="ch" forName="desTx" refType="w" refFor="ch" refForName="parTx" fact="0.91"/>
              <dgm:constr type="t" for="ch" forName="desTx" refType="h" refFor="ch" refForName="parTx"/>
            </dgm:constrLst>
          </dgm:else>
        </dgm:choose>
        <dgm:ruleLst>
          <dgm:rule type="h" val="INF" fact="NaN" max="NaN"/>
        </dgm:ruleLst>
        <dgm:layoutNode name="parTx" styleLbl="alignNode1">
          <dgm:varLst>
            <dgm:chMax val="0"/>
            <dgm:chPref val="0"/>
          </dgm:varLst>
          <dgm:alg type="tx"/>
          <dgm:choose name="Name10">
            <dgm:if name="Name11" func="var" arg="dir" op="equ" val="norm">
              <dgm:shape xmlns:r="http://schemas.openxmlformats.org/officeDocument/2006/relationships" type="chevron" r:blip="">
                <dgm:adjLst>
                  <dgm:adj idx="1" val="0.3"/>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3"/>
                <dgm:constr type="h"/>
                <dgm:constr type="tMarg" refType="w" fact="0.105"/>
                <dgm:constr type="bMarg" refType="w" fact="0.105"/>
                <dgm:constr type="lMarg" refType="w" fact="0.105"/>
                <dgm:constr type="rMarg" refType="w" fact="0.105"/>
              </dgm:constrLst>
            </dgm:if>
            <dgm:else name="Name15">
              <dgm:constrLst>
                <dgm:constr type="h" refType="w" op="lte" fact="0.3"/>
                <dgm:constr type="h"/>
                <dgm:constr type="tMarg" refType="w" fact="0.105"/>
                <dgm:constr type="bMarg" refType="w" fact="0.105"/>
                <dgm:constr type="lMarg" refType="w" fact="0.105"/>
                <dgm:constr type="rMarg" refType="w" fact="0.105"/>
              </dgm:constrLst>
            </dgm:else>
          </dgm:choose>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0"/>
            <dgm:constr type="tMarg" refType="w" fact="0.224"/>
            <dgm:constr type="bMarg" refType="w" fact="0.448"/>
            <dgm:constr type="lMarg" refType="w" fact="0.224"/>
            <dgm:constr type="rMarg" refType="w" fact="0.224"/>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o.microsoft.com/fwlink/?linkid=873250" TargetMode="External"/><Relationship Id="rId7" Type="http://schemas.openxmlformats.org/officeDocument/2006/relationships/hyperlink" Target="https://go.microsoft.com/fwlink/?linkid=873245"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go.microsoft.com/fwlink/?linkid=873247" TargetMode="External"/><Relationship Id="rId5" Type="http://schemas.openxmlformats.org/officeDocument/2006/relationships/hyperlink" Target="https://docs.microsoft.com/en-us/office365/enterprise/modern-image-optimization" TargetMode="External"/><Relationship Id="rId4" Type="http://schemas.openxmlformats.org/officeDocument/2006/relationships/hyperlink" Target="https://go.microsoft.com/fwlink/?linkid=873251"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Microsoft/ChakraCore/wiki/JavaScript-Runtime-%28JSRT%29-Overview"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2742486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Running as Standard User</a:t>
            </a:r>
            <a:r>
              <a:rPr lang="en-US" sz="1050" b="0" i="0" u="none" strike="noStrike" kern="1200" dirty="0">
                <a:solidFill>
                  <a:schemeClr val="tx1"/>
                </a:solidFill>
                <a:effectLst/>
                <a:latin typeface="Segoe UI" pitchFamily="34" charset="0"/>
                <a:ea typeface="Segoe UI" pitchFamily="34" charset="0"/>
                <a:cs typeface="Segoe UI" pitchFamily="34" charset="0"/>
              </a:rPr>
              <a:t> Checking page performance should not be performed when logged in as a Service Account, Administrator or Site Collection Administrator, or any account with elevated privileges. Additional scripts and functionality are loaded specifically for those types of accounts, so the results will not be a true representation of page performance.</a:t>
            </a: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Requests to SharePoint</a:t>
            </a:r>
            <a:r>
              <a:rPr lang="en-US" sz="1050" b="0" i="0" u="none" strike="noStrike" kern="1200" dirty="0">
                <a:solidFill>
                  <a:schemeClr val="tx1"/>
                </a:solidFill>
                <a:effectLst/>
                <a:latin typeface="Segoe UI" pitchFamily="34" charset="0"/>
                <a:ea typeface="Segoe UI" pitchFamily="34" charset="0"/>
                <a:cs typeface="Segoe UI" pitchFamily="34" charset="0"/>
              </a:rPr>
              <a:t> The amount of data and requests made to the server should be limited as an overloaded page will experience poor performance. This check verifies the number of requests being made to SharePoint and will advise when the requests exceed 6 requests. Most requests should be cached and therefore not called for every page load. Cache should be setup and utilized for at least 15 minutes to reduce the amount of calls to a page by each and every User. This is a common problem and in most cases data only changes daily but the page checks and fetches data each time for each page for each user which is often unnecessary.</a:t>
            </a: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using CDNs</a:t>
            </a:r>
            <a:r>
              <a:rPr lang="en-US" sz="1050" b="0" i="0" u="none" strike="noStrike" kern="1200" dirty="0">
                <a:solidFill>
                  <a:schemeClr val="tx1"/>
                </a:solidFill>
                <a:effectLst/>
                <a:latin typeface="Segoe UI" pitchFamily="34" charset="0"/>
                <a:ea typeface="Segoe UI" pitchFamily="34" charset="0"/>
                <a:cs typeface="Segoe UI" pitchFamily="34" charset="0"/>
              </a:rPr>
              <a:t> Content Delivery networks (CDNs) have been provided by Microsoft and the ones referred to here are the SharePoint Online Content Delivery Networks. There are multiple types available as well as different CDN services like SharePoint CDNs and then CDNs in Azure. </a:t>
            </a:r>
            <a:r>
              <a:rPr lang="en-US" sz="1050" b="0" i="0" u="sng" strike="noStrike" kern="1200" dirty="0">
                <a:solidFill>
                  <a:schemeClr val="tx1"/>
                </a:solidFill>
                <a:effectLst/>
                <a:latin typeface="Segoe UI" pitchFamily="34" charset="0"/>
                <a:ea typeface="Segoe UI" pitchFamily="34" charset="0"/>
                <a:cs typeface="Segoe UI" pitchFamily="34" charset="0"/>
                <a:hlinkClick r:id="rId3"/>
              </a:rPr>
              <a:t>Use the following guidance</a:t>
            </a:r>
            <a:r>
              <a:rPr lang="en-US" sz="1050" b="0" i="0" u="none" strike="noStrike" kern="1200" dirty="0">
                <a:solidFill>
                  <a:schemeClr val="tx1"/>
                </a:solidFill>
                <a:effectLst/>
                <a:latin typeface="Segoe UI" pitchFamily="34" charset="0"/>
                <a:ea typeface="Segoe UI" pitchFamily="34" charset="0"/>
                <a:cs typeface="Segoe UI" pitchFamily="34" charset="0"/>
              </a:rPr>
              <a:t>.</a:t>
            </a: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for Large Image Sizes</a:t>
            </a:r>
            <a:r>
              <a:rPr lang="en-US" sz="1050" b="0" i="0" u="none" strike="noStrike" kern="1200" dirty="0">
                <a:solidFill>
                  <a:schemeClr val="tx1"/>
                </a:solidFill>
                <a:effectLst/>
                <a:latin typeface="Segoe UI" pitchFamily="34" charset="0"/>
                <a:ea typeface="Segoe UI" pitchFamily="34" charset="0"/>
                <a:cs typeface="Segoe UI" pitchFamily="34" charset="0"/>
              </a:rPr>
              <a:t> Images should be optimized for web by utilizing better web types like PNG. Image renditions should also be utilized and is available in SharePoint directly. Images / image renditions larger than 100kb will be highlighted as not optimized for web. </a:t>
            </a:r>
            <a:r>
              <a:rPr lang="en-US" sz="1050" b="0" i="0" u="sng" strike="noStrike" kern="1200" dirty="0">
                <a:solidFill>
                  <a:schemeClr val="tx1"/>
                </a:solidFill>
                <a:effectLst/>
                <a:latin typeface="Segoe UI" pitchFamily="34" charset="0"/>
                <a:ea typeface="Segoe UI" pitchFamily="34" charset="0"/>
                <a:cs typeface="Segoe UI" pitchFamily="34" charset="0"/>
                <a:hlinkClick r:id="rId4"/>
              </a:rPr>
              <a:t>Use the following guidance for optimizing images</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dirty="0">
                <a:hlinkClick r:id="rId5"/>
              </a:rPr>
              <a:t>https://docs.microsoft.com/en-us/office365/enterprise/modern-image-optimization</a:t>
            </a:r>
            <a:endParaRPr lang="en-US" dirty="0"/>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for Structural Navigation</a:t>
            </a:r>
            <a:r>
              <a:rPr lang="en-US" sz="1050" b="0" i="0" u="none" strike="noStrike" kern="1200" dirty="0">
                <a:solidFill>
                  <a:schemeClr val="tx1"/>
                </a:solidFill>
                <a:effectLst/>
                <a:latin typeface="Segoe UI" pitchFamily="34" charset="0"/>
                <a:ea typeface="Segoe UI" pitchFamily="34" charset="0"/>
                <a:cs typeface="Segoe UI" pitchFamily="34" charset="0"/>
              </a:rPr>
              <a:t> Structural Navigation was originally designed for use in SharePoint on-Premises where object cache could be utilized. Structural Navigation is not recommended for use in SharePoint Online and should be changed to Managed Navigation or a Custom Provider. </a:t>
            </a:r>
            <a:r>
              <a:rPr lang="en-US" sz="1050" b="0" i="0" u="sng" strike="noStrike" kern="1200" dirty="0">
                <a:solidFill>
                  <a:schemeClr val="tx1"/>
                </a:solidFill>
                <a:effectLst/>
                <a:latin typeface="Segoe UI" pitchFamily="34" charset="0"/>
                <a:ea typeface="Segoe UI" pitchFamily="34" charset="0"/>
                <a:cs typeface="Segoe UI" pitchFamily="34" charset="0"/>
                <a:hlinkClick r:id="rId6"/>
              </a:rPr>
              <a:t>Use the following guidance for optimizing navigation.﻿</a:t>
            </a:r>
            <a:endParaRPr lang="en-US" sz="1050" b="0" i="0" u="none" strike="noStrike" kern="1200" dirty="0">
              <a:solidFill>
                <a:schemeClr val="tx1"/>
              </a:solidFill>
              <a:effectLst/>
              <a:latin typeface="Segoe UI" pitchFamily="34" charset="0"/>
              <a:ea typeface="Segoe UI" pitchFamily="34" charset="0"/>
              <a:cs typeface="Segoe UI" pitchFamily="34" charset="0"/>
            </a:endParaRP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r>
              <a:rPr lang="en-US" sz="1050" b="1" i="0" u="none" strike="noStrike" kern="1200" dirty="0">
                <a:solidFill>
                  <a:schemeClr val="tx1"/>
                </a:solidFill>
                <a:effectLst/>
                <a:latin typeface="Segoe UI" pitchFamily="34" charset="0"/>
                <a:ea typeface="Segoe UI" pitchFamily="34" charset="0"/>
                <a:cs typeface="Segoe UI" pitchFamily="34" charset="0"/>
              </a:rPr>
              <a:t>Check for CBQ </a:t>
            </a:r>
            <a:r>
              <a:rPr lang="en-US" sz="1050" b="1"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CBQ - Content by Query </a:t>
            </a:r>
            <a:r>
              <a:rPr lang="en-US" sz="1050" b="0"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The Content by Query </a:t>
            </a:r>
            <a:r>
              <a:rPr lang="en-US" sz="1050" b="0"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generates a high SQL load as it traverses all items in the query for each and every page load, for each User. Unlike an on-Premises installation, there is no cache available to limit the number of queries needed to populate this </a:t>
            </a:r>
            <a:r>
              <a:rPr lang="en-US" sz="1050" b="0"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As such CBQ performs slowly and impacts overall page performance which is why it should not be utilized. Please use the Content Search </a:t>
            </a:r>
            <a:r>
              <a:rPr lang="en-US" sz="1050" b="0"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CSWP) as the replacement for the Content Query </a:t>
            </a:r>
            <a:r>
              <a:rPr lang="en-US" sz="1050" b="0" i="0" u="none" strike="noStrike" kern="1200" dirty="0" err="1">
                <a:solidFill>
                  <a:schemeClr val="tx1"/>
                </a:solidFill>
                <a:effectLst/>
                <a:latin typeface="Segoe UI" pitchFamily="34" charset="0"/>
                <a:ea typeface="Segoe UI" pitchFamily="34" charset="0"/>
                <a:cs typeface="Segoe UI" pitchFamily="34" charset="0"/>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 </a:t>
            </a:r>
            <a:r>
              <a:rPr lang="en-US" sz="1050" b="0" i="0" u="sng" strike="noStrike" kern="1200" dirty="0">
                <a:solidFill>
                  <a:schemeClr val="tx1"/>
                </a:solidFill>
                <a:effectLst/>
                <a:latin typeface="Segoe UI" pitchFamily="34" charset="0"/>
                <a:ea typeface="Segoe UI" pitchFamily="34" charset="0"/>
                <a:cs typeface="Segoe UI" pitchFamily="34" charset="0"/>
                <a:hlinkClick r:id="rId7"/>
              </a:rPr>
              <a:t>Use the following guidance related to the Content Search </a:t>
            </a:r>
            <a:r>
              <a:rPr lang="en-US" sz="1050" b="0" i="0" u="sng" strike="noStrike" kern="1200" dirty="0" err="1">
                <a:solidFill>
                  <a:schemeClr val="tx1"/>
                </a:solidFill>
                <a:effectLst/>
                <a:latin typeface="Segoe UI" pitchFamily="34" charset="0"/>
                <a:ea typeface="Segoe UI" pitchFamily="34" charset="0"/>
                <a:cs typeface="Segoe UI" pitchFamily="34" charset="0"/>
                <a:hlinkClick r:id="rId7"/>
              </a:rPr>
              <a:t>WebPart</a:t>
            </a:r>
            <a:r>
              <a:rPr lang="en-US" sz="1050" b="0" i="0" u="none" strike="noStrike" kern="1200" dirty="0">
                <a:solidFill>
                  <a:schemeClr val="tx1"/>
                </a:solidFill>
                <a:effectLst/>
                <a:latin typeface="Segoe UI" pitchFamily="34" charset="0"/>
                <a:ea typeface="Segoe UI" pitchFamily="34" charset="0"/>
                <a:cs typeface="Segoe UI" pitchFamily="34" charset="0"/>
              </a:rPr>
              <a:t>.</a:t>
            </a:r>
          </a:p>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75393364"/>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0"/>
              </a:spcBef>
              <a:spcAft>
                <a:spcPts val="0"/>
              </a:spcAft>
            </a:pPr>
            <a:endParaRPr lang="en-US" dirty="0"/>
          </a:p>
          <a:p>
            <a:pPr>
              <a:spcBef>
                <a:spcPts val="0"/>
              </a:spcBef>
              <a:spcAft>
                <a:spcPts val="0"/>
              </a:spcAft>
            </a:pPr>
            <a:r>
              <a:rPr lang="en-US" dirty="0"/>
              <a:t>Use the network panel in the Microsoft Edge Developer tools to analyze network traffic of a classic page in SharePoint Online </a:t>
            </a:r>
          </a:p>
          <a:p>
            <a:pPr marL="171450" indent="-171450">
              <a:spcBef>
                <a:spcPts val="0"/>
              </a:spcBef>
              <a:spcAft>
                <a:spcPts val="0"/>
              </a:spcAft>
              <a:buFontTx/>
              <a:buChar char="-"/>
            </a:pPr>
            <a:r>
              <a:rPr lang="en-US" dirty="0"/>
              <a:t>Point out the overall load time of the home.aspx page or landing page you are </a:t>
            </a:r>
            <a:r>
              <a:rPr lang="en-US" dirty="0" err="1"/>
              <a:t>demo’ing</a:t>
            </a:r>
            <a:endParaRPr lang="en-US" dirty="0"/>
          </a:p>
          <a:p>
            <a:pPr marL="171450" indent="-171450">
              <a:spcBef>
                <a:spcPts val="0"/>
              </a:spcBef>
              <a:spcAft>
                <a:spcPts val="0"/>
              </a:spcAft>
              <a:buFontTx/>
              <a:buChar char="-"/>
            </a:pPr>
            <a:r>
              <a:rPr lang="en-US" dirty="0"/>
              <a:t>Add some images to the page and view load times of the images</a:t>
            </a:r>
          </a:p>
          <a:p>
            <a:pPr marL="171450" indent="-171450">
              <a:spcBef>
                <a:spcPts val="0"/>
              </a:spcBef>
              <a:spcAft>
                <a:spcPts val="0"/>
              </a:spcAft>
              <a:buFontTx/>
              <a:buChar char="-"/>
            </a:pPr>
            <a:r>
              <a:rPr lang="en-US" dirty="0"/>
              <a:t>Point out where to see the </a:t>
            </a:r>
            <a:r>
              <a:rPr lang="en-US" dirty="0" err="1"/>
              <a:t>SPRequestGUID</a:t>
            </a:r>
            <a:r>
              <a:rPr lang="en-US" dirty="0"/>
              <a:t> (aka Correlation Id) in the Headers tab in the Network panel </a:t>
            </a:r>
          </a:p>
          <a:p>
            <a:pPr marL="171450" marR="0" lvl="0" indent="-171450" algn="l" defTabSz="609585" rtl="0" eaLnBrk="1" fontAlgn="auto" latinLnBrk="0" hangingPunct="1">
              <a:lnSpc>
                <a:spcPct val="100000"/>
              </a:lnSpc>
              <a:spcBef>
                <a:spcPts val="0"/>
              </a:spcBef>
              <a:spcAft>
                <a:spcPts val="0"/>
              </a:spcAft>
              <a:buClrTx/>
              <a:buSzTx/>
              <a:buFontTx/>
              <a:buChar char="-"/>
              <a:tabLst/>
              <a:defRPr/>
            </a:pPr>
            <a:r>
              <a:rPr lang="en-US" dirty="0"/>
              <a:t>Point out the Timings tab in the Network panel and the Waiting (TTFB) value</a:t>
            </a:r>
          </a:p>
          <a:p>
            <a:pPr marL="171450" marR="0" lvl="0" indent="-171450" algn="l" defTabSz="609585" rtl="0" eaLnBrk="1" fontAlgn="auto" latinLnBrk="0" hangingPunct="1">
              <a:lnSpc>
                <a:spcPct val="100000"/>
              </a:lnSpc>
              <a:spcBef>
                <a:spcPts val="0"/>
              </a:spcBef>
              <a:spcAft>
                <a:spcPts val="0"/>
              </a:spcAft>
              <a:buClrTx/>
              <a:buSzTx/>
              <a:buFontTx/>
              <a:buChar char="-"/>
              <a:tabLst/>
              <a:defRPr/>
            </a:pPr>
            <a:endParaRPr lang="en-US" dirty="0"/>
          </a:p>
          <a:p>
            <a:pPr marL="171450" marR="0" lvl="0" indent="-171450" algn="l" defTabSz="609585" rtl="0" eaLnBrk="1" fontAlgn="auto" latinLnBrk="0" hangingPunct="1">
              <a:lnSpc>
                <a:spcPct val="100000"/>
              </a:lnSpc>
              <a:spcBef>
                <a:spcPts val="0"/>
              </a:spcBef>
              <a:spcAft>
                <a:spcPts val="0"/>
              </a:spcAft>
              <a:buClrTx/>
              <a:buSzTx/>
              <a:buFontTx/>
              <a:buChar char="-"/>
              <a:tabLst/>
              <a:defRPr/>
            </a:pPr>
            <a:r>
              <a:rPr lang="en-US" dirty="0"/>
              <a:t>Download and demonstrate running the </a:t>
            </a:r>
            <a:r>
              <a:rPr lang="nb-NO" sz="1050" dirty="0">
                <a:solidFill>
                  <a:schemeClr val="accent3"/>
                </a:solidFill>
              </a:rPr>
              <a:t>Page diagnostic tool for SharePoint Online against a classic site page using Google Chrome </a:t>
            </a:r>
            <a:endParaRPr lang="en-US" dirty="0"/>
          </a:p>
          <a:p>
            <a:pPr marL="171450" indent="-171450">
              <a:spcBef>
                <a:spcPts val="0"/>
              </a:spcBef>
              <a:spcAft>
                <a:spcPts val="0"/>
              </a:spcAft>
              <a:buFontTx/>
              <a:buChar char="-"/>
            </a:pPr>
            <a:endParaRPr lang="en-US" dirty="0"/>
          </a:p>
          <a:p>
            <a:pPr marL="0" indent="0">
              <a:spcBef>
                <a:spcPts val="0"/>
              </a:spcBef>
              <a:spcAft>
                <a:spcPts val="0"/>
              </a:spcAft>
              <a:buFontTx/>
              <a:buNone/>
            </a:pPr>
            <a:endParaRPr lang="en-US" dirty="0"/>
          </a:p>
          <a:p>
            <a:pPr>
              <a:spcBef>
                <a:spcPts val="0"/>
              </a:spcBef>
              <a:spcAft>
                <a:spcPts val="0"/>
              </a:spcAft>
            </a:pPr>
            <a:endParaRPr lang="en-US" b="1"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76835926"/>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10464417"/>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b="0" i="0" u="none" strike="noStrike" kern="1200" dirty="0">
                <a:solidFill>
                  <a:schemeClr val="tx1"/>
                </a:solidFill>
                <a:effectLst/>
                <a:latin typeface="Segoe UI" pitchFamily="34" charset="0"/>
                <a:ea typeface="Segoe UI" pitchFamily="34" charset="0"/>
                <a:cs typeface="Segoe UI" pitchFamily="34" charset="0"/>
              </a:rPr>
              <a:t>The Microsoft 365 CDN is included as part of your SharePoint Online subscription. You don't have to pay extra for it. Microsoft 365 provides support for both private and public access and allows you to host static assets in multiple locations, or origins. The Microsoft 365 CDN is not the same as the Azure CDN. If you need more information about why to use a CDN or about general CDN concepts, see https://docs.microsoft.com/en-us/office365/enterprise/content-delivery-networks</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602860989"/>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115651545"/>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Using assets in public origins</a:t>
            </a:r>
          </a:p>
          <a:p>
            <a:r>
              <a:rPr lang="en-US" sz="1050" b="0" i="0" u="none" strike="noStrike" kern="1200" dirty="0">
                <a:solidFill>
                  <a:schemeClr val="tx1"/>
                </a:solidFill>
                <a:effectLst/>
                <a:latin typeface="Segoe UI" pitchFamily="34" charset="0"/>
                <a:ea typeface="Segoe UI" pitchFamily="34" charset="0"/>
                <a:cs typeface="Segoe UI" pitchFamily="34" charset="0"/>
              </a:rPr>
              <a:t>The </a:t>
            </a:r>
            <a:r>
              <a:rPr lang="en-US" sz="1050" b="1" i="0" u="none" strike="noStrike" kern="1200" dirty="0">
                <a:solidFill>
                  <a:schemeClr val="tx1"/>
                </a:solidFill>
                <a:effectLst/>
                <a:latin typeface="Segoe UI" pitchFamily="34" charset="0"/>
                <a:ea typeface="Segoe UI" pitchFamily="34" charset="0"/>
                <a:cs typeface="Segoe UI" pitchFamily="34" charset="0"/>
              </a:rPr>
              <a:t>Publishing feature</a:t>
            </a:r>
            <a:r>
              <a:rPr lang="en-US" sz="1050" b="0" i="0" u="none" strike="noStrike" kern="1200" dirty="0">
                <a:solidFill>
                  <a:schemeClr val="tx1"/>
                </a:solidFill>
                <a:effectLst/>
                <a:latin typeface="Segoe UI" pitchFamily="34" charset="0"/>
                <a:ea typeface="Segoe UI" pitchFamily="34" charset="0"/>
                <a:cs typeface="Segoe UI" pitchFamily="34" charset="0"/>
              </a:rPr>
              <a:t> in SharePoint Online automatically rewrites URLs of assets stored in public origins to their CDN equivalents so that assets are served from the CDN service instead of SharePoint.</a:t>
            </a:r>
          </a:p>
          <a:p>
            <a:r>
              <a:rPr lang="en-US" sz="1050" b="0" i="0" u="none" strike="noStrike" kern="1200" dirty="0">
                <a:solidFill>
                  <a:schemeClr val="tx1"/>
                </a:solidFill>
                <a:effectLst/>
                <a:latin typeface="Segoe UI" pitchFamily="34" charset="0"/>
                <a:ea typeface="Segoe UI" pitchFamily="34" charset="0"/>
                <a:cs typeface="Segoe UI" pitchFamily="34" charset="0"/>
              </a:rPr>
              <a:t>If your origin is in a site with the Publishing feature enabled, and the assets you want to offload to the CDN are in one of the following categories, SharePoint will automatically rewrite URLs for assets in the origin, provided that the asset has not been excluded by a CDN policy.</a:t>
            </a:r>
          </a:p>
          <a:p>
            <a:r>
              <a:rPr lang="en-US" sz="1050" b="0" i="0" u="none" strike="noStrike" kern="1200" dirty="0">
                <a:solidFill>
                  <a:schemeClr val="tx1"/>
                </a:solidFill>
                <a:effectLst/>
                <a:latin typeface="Segoe UI" pitchFamily="34" charset="0"/>
                <a:ea typeface="Segoe UI" pitchFamily="34" charset="0"/>
                <a:cs typeface="Segoe UI" pitchFamily="34" charset="0"/>
              </a:rPr>
              <a:t>The following is an overview of which links are automatically rewritten by the SharePoint Publishing feature:</a:t>
            </a:r>
          </a:p>
          <a:p>
            <a:r>
              <a:rPr lang="en-US" sz="1050" b="0" i="0" u="none" strike="noStrike" kern="1200" dirty="0">
                <a:solidFill>
                  <a:schemeClr val="tx1"/>
                </a:solidFill>
                <a:effectLst/>
                <a:latin typeface="Segoe UI" pitchFamily="34" charset="0"/>
                <a:ea typeface="Segoe UI" pitchFamily="34" charset="0"/>
                <a:cs typeface="Segoe UI" pitchFamily="34" charset="0"/>
              </a:rPr>
              <a:t>IMG/LINK/CSS URLs in classic publishing page HTML responses </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This includes images added by authors within the HTML content of a page</a:t>
            </a:r>
          </a:p>
          <a:p>
            <a:r>
              <a:rPr lang="en-US" sz="1050" b="0" i="0" u="none" strike="noStrike" kern="1200" dirty="0">
                <a:solidFill>
                  <a:schemeClr val="tx1"/>
                </a:solidFill>
                <a:effectLst/>
                <a:latin typeface="Segoe UI" pitchFamily="34" charset="0"/>
                <a:ea typeface="Segoe UI" pitchFamily="34" charset="0"/>
                <a:cs typeface="Segoe UI" pitchFamily="34" charset="0"/>
              </a:rPr>
              <a:t>Picture Library </a:t>
            </a:r>
            <a:r>
              <a:rPr lang="en-US" sz="1050" b="0" i="0" u="none" strike="noStrike" kern="1200" dirty="0" err="1">
                <a:solidFill>
                  <a:schemeClr val="tx1"/>
                </a:solidFill>
                <a:effectLst/>
                <a:latin typeface="Segoe UI" pitchFamily="34" charset="0"/>
                <a:ea typeface="Segoe UI" pitchFamily="34" charset="0"/>
                <a:cs typeface="Segoe UI" pitchFamily="34" charset="0"/>
              </a:rPr>
              <a:t>SlideShow</a:t>
            </a:r>
            <a:r>
              <a:rPr lang="en-US" sz="1050" b="0" i="0" u="none" strike="noStrike" kern="1200" dirty="0">
                <a:solidFill>
                  <a:schemeClr val="tx1"/>
                </a:solidFill>
                <a:effectLst/>
                <a:latin typeface="Segoe UI" pitchFamily="34" charset="0"/>
                <a:ea typeface="Segoe UI" pitchFamily="34" charset="0"/>
                <a:cs typeface="Segoe UI" pitchFamily="34" charset="0"/>
              </a:rPr>
              <a:t> webpart image URLs</a:t>
            </a:r>
          </a:p>
          <a:p>
            <a:r>
              <a:rPr lang="en-US" sz="1050" b="0" i="0" u="none" strike="noStrike" kern="1200" dirty="0">
                <a:solidFill>
                  <a:schemeClr val="tx1"/>
                </a:solidFill>
                <a:effectLst/>
                <a:latin typeface="Segoe UI" pitchFamily="34" charset="0"/>
                <a:ea typeface="Segoe UI" pitchFamily="34" charset="0"/>
                <a:cs typeface="Segoe UI" pitchFamily="34" charset="0"/>
              </a:rPr>
              <a:t>Image fields in </a:t>
            </a:r>
            <a:r>
              <a:rPr lang="en-US" sz="1050" b="0" i="0" u="none" strike="noStrike" kern="1200" dirty="0" err="1">
                <a:solidFill>
                  <a:schemeClr val="tx1"/>
                </a:solidFill>
                <a:effectLst/>
                <a:latin typeface="Segoe UI" pitchFamily="34" charset="0"/>
                <a:ea typeface="Segoe UI" pitchFamily="34" charset="0"/>
                <a:cs typeface="Segoe UI" pitchFamily="34" charset="0"/>
              </a:rPr>
              <a:t>SPList</a:t>
            </a:r>
            <a:r>
              <a:rPr lang="en-US" sz="1050" b="0" i="0" u="none" strike="noStrike" kern="1200" dirty="0">
                <a:solidFill>
                  <a:schemeClr val="tx1"/>
                </a:solidFill>
                <a:effectLst/>
                <a:latin typeface="Segoe UI" pitchFamily="34" charset="0"/>
                <a:ea typeface="Segoe UI" pitchFamily="34" charset="0"/>
                <a:cs typeface="Segoe UI" pitchFamily="34" charset="0"/>
              </a:rPr>
              <a:t> REST API (</a:t>
            </a:r>
            <a:r>
              <a:rPr lang="en-US" sz="1050" b="0" i="0" u="none" strike="noStrike" kern="1200" dirty="0" err="1">
                <a:solidFill>
                  <a:schemeClr val="tx1"/>
                </a:solidFill>
                <a:effectLst/>
                <a:latin typeface="Segoe UI" pitchFamily="34" charset="0"/>
                <a:ea typeface="Segoe UI" pitchFamily="34" charset="0"/>
                <a:cs typeface="Segoe UI" pitchFamily="34" charset="0"/>
              </a:rPr>
              <a:t>RenderListDataAsStream</a:t>
            </a:r>
            <a:r>
              <a:rPr lang="en-US" sz="1050" b="0" i="0" u="none" strike="noStrike" kern="1200" dirty="0">
                <a:solidFill>
                  <a:schemeClr val="tx1"/>
                </a:solidFill>
                <a:effectLst/>
                <a:latin typeface="Segoe UI" pitchFamily="34" charset="0"/>
                <a:ea typeface="Segoe UI" pitchFamily="34" charset="0"/>
                <a:cs typeface="Segoe UI" pitchFamily="34" charset="0"/>
              </a:rPr>
              <a:t>) results </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Use the new property </a:t>
            </a:r>
            <a:r>
              <a:rPr lang="en-US" sz="1050" b="0" i="1" u="none" strike="noStrike" kern="1200" dirty="0" err="1">
                <a:solidFill>
                  <a:schemeClr val="tx1"/>
                </a:solidFill>
                <a:effectLst/>
                <a:latin typeface="Segoe UI" pitchFamily="34" charset="0"/>
                <a:ea typeface="Segoe UI" pitchFamily="34" charset="0"/>
                <a:cs typeface="Segoe UI" pitchFamily="34" charset="0"/>
              </a:rPr>
              <a:t>ImageFieldsToTryRewriteToCdnUrls</a:t>
            </a:r>
            <a:r>
              <a:rPr lang="en-US" sz="1050" b="0" i="0" u="none" strike="noStrike" kern="1200" dirty="0">
                <a:solidFill>
                  <a:schemeClr val="tx1"/>
                </a:solidFill>
                <a:effectLst/>
                <a:latin typeface="Segoe UI" pitchFamily="34" charset="0"/>
                <a:ea typeface="Segoe UI" pitchFamily="34" charset="0"/>
                <a:cs typeface="Segoe UI" pitchFamily="34" charset="0"/>
              </a:rPr>
              <a:t> to provide a comma separated list of fields</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Supports hyperlink fields and </a:t>
            </a:r>
            <a:r>
              <a:rPr lang="en-US" sz="1050" b="0" i="0" u="none" strike="noStrike" kern="1200" dirty="0" err="1">
                <a:solidFill>
                  <a:schemeClr val="tx1"/>
                </a:solidFill>
                <a:effectLst/>
                <a:latin typeface="Segoe UI" pitchFamily="34" charset="0"/>
                <a:ea typeface="Segoe UI" pitchFamily="34" charset="0"/>
                <a:cs typeface="Segoe UI" pitchFamily="34" charset="0"/>
              </a:rPr>
              <a:t>PublishingImage</a:t>
            </a:r>
            <a:r>
              <a:rPr lang="en-US" sz="1050" b="0" i="0" u="none" strike="noStrike" kern="1200" dirty="0">
                <a:solidFill>
                  <a:schemeClr val="tx1"/>
                </a:solidFill>
                <a:effectLst/>
                <a:latin typeface="Segoe UI" pitchFamily="34" charset="0"/>
                <a:ea typeface="Segoe UI" pitchFamily="34" charset="0"/>
                <a:cs typeface="Segoe UI" pitchFamily="34" charset="0"/>
              </a:rPr>
              <a:t> fields</a:t>
            </a:r>
          </a:p>
          <a:p>
            <a:r>
              <a:rPr lang="en-US" sz="1050" b="0" i="0" u="none" strike="noStrike" kern="1200" dirty="0">
                <a:solidFill>
                  <a:schemeClr val="tx1"/>
                </a:solidFill>
                <a:effectLst/>
                <a:latin typeface="Segoe UI" pitchFamily="34" charset="0"/>
                <a:ea typeface="Segoe UI" pitchFamily="34" charset="0"/>
                <a:cs typeface="Segoe UI" pitchFamily="34" charset="0"/>
              </a:rPr>
              <a:t>SharePoint image renditions</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760955155"/>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Using assets in public origins</a:t>
            </a:r>
          </a:p>
          <a:p>
            <a:r>
              <a:rPr lang="en-US" sz="1050" b="0" i="0" u="none" strike="noStrike" kern="1200" dirty="0">
                <a:solidFill>
                  <a:schemeClr val="tx1"/>
                </a:solidFill>
                <a:effectLst/>
                <a:latin typeface="Segoe UI" pitchFamily="34" charset="0"/>
                <a:ea typeface="Segoe UI" pitchFamily="34" charset="0"/>
                <a:cs typeface="Segoe UI" pitchFamily="34" charset="0"/>
              </a:rPr>
              <a:t>The </a:t>
            </a:r>
            <a:r>
              <a:rPr lang="en-US" sz="1050" b="1" i="0" u="none" strike="noStrike" kern="1200" dirty="0">
                <a:solidFill>
                  <a:schemeClr val="tx1"/>
                </a:solidFill>
                <a:effectLst/>
                <a:latin typeface="Segoe UI" pitchFamily="34" charset="0"/>
                <a:ea typeface="Segoe UI" pitchFamily="34" charset="0"/>
                <a:cs typeface="Segoe UI" pitchFamily="34" charset="0"/>
              </a:rPr>
              <a:t>Publishing feature</a:t>
            </a:r>
            <a:r>
              <a:rPr lang="en-US" sz="1050" b="0" i="0" u="none" strike="noStrike" kern="1200" dirty="0">
                <a:solidFill>
                  <a:schemeClr val="tx1"/>
                </a:solidFill>
                <a:effectLst/>
                <a:latin typeface="Segoe UI" pitchFamily="34" charset="0"/>
                <a:ea typeface="Segoe UI" pitchFamily="34" charset="0"/>
                <a:cs typeface="Segoe UI" pitchFamily="34" charset="0"/>
              </a:rPr>
              <a:t> in SharePoint Online automatically rewrites URLs of assets stored in public origins to their CDN equivalents so that assets are served from the CDN service instead of SharePoint.</a:t>
            </a:r>
          </a:p>
          <a:p>
            <a:r>
              <a:rPr lang="en-US" sz="1050" b="0" i="0" u="none" strike="noStrike" kern="1200" dirty="0">
                <a:solidFill>
                  <a:schemeClr val="tx1"/>
                </a:solidFill>
                <a:effectLst/>
                <a:latin typeface="Segoe UI" pitchFamily="34" charset="0"/>
                <a:ea typeface="Segoe UI" pitchFamily="34" charset="0"/>
                <a:cs typeface="Segoe UI" pitchFamily="34" charset="0"/>
              </a:rPr>
              <a:t>If your origin is in a site with the Publishing feature enabled, and the assets you want to offload to the CDN are in one of the following categories, SharePoint will automatically rewrite URLs for assets in the origin, provided that the asset has not been excluded by a CDN policy.</a:t>
            </a:r>
          </a:p>
          <a:p>
            <a:r>
              <a:rPr lang="en-US" sz="1050" b="0" i="0" u="none" strike="noStrike" kern="1200" dirty="0">
                <a:solidFill>
                  <a:schemeClr val="tx1"/>
                </a:solidFill>
                <a:effectLst/>
                <a:latin typeface="Segoe UI" pitchFamily="34" charset="0"/>
                <a:ea typeface="Segoe UI" pitchFamily="34" charset="0"/>
                <a:cs typeface="Segoe UI" pitchFamily="34" charset="0"/>
              </a:rPr>
              <a:t>The following is an overview of which links are automatically rewritten by the SharePoint Publishing feature:</a:t>
            </a:r>
          </a:p>
          <a:p>
            <a:r>
              <a:rPr lang="en-US" sz="1050" b="0" i="0" u="none" strike="noStrike" kern="1200" dirty="0">
                <a:solidFill>
                  <a:schemeClr val="tx1"/>
                </a:solidFill>
                <a:effectLst/>
                <a:latin typeface="Segoe UI" pitchFamily="34" charset="0"/>
                <a:ea typeface="Segoe UI" pitchFamily="34" charset="0"/>
                <a:cs typeface="Segoe UI" pitchFamily="34" charset="0"/>
              </a:rPr>
              <a:t>IMG/LINK/CSS URLs in classic publishing page HTML responses </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This includes images added by authors within the HTML content of a page</a:t>
            </a:r>
          </a:p>
          <a:p>
            <a:r>
              <a:rPr lang="en-US" sz="1050" b="0" i="0" u="none" strike="noStrike" kern="1200" dirty="0">
                <a:solidFill>
                  <a:schemeClr val="tx1"/>
                </a:solidFill>
                <a:effectLst/>
                <a:latin typeface="Segoe UI" pitchFamily="34" charset="0"/>
                <a:ea typeface="Segoe UI" pitchFamily="34" charset="0"/>
                <a:cs typeface="Segoe UI" pitchFamily="34" charset="0"/>
              </a:rPr>
              <a:t>Picture Library </a:t>
            </a:r>
            <a:r>
              <a:rPr lang="en-US" sz="1050" b="0" i="0" u="none" strike="noStrike" kern="1200" dirty="0" err="1">
                <a:solidFill>
                  <a:schemeClr val="tx1"/>
                </a:solidFill>
                <a:effectLst/>
                <a:latin typeface="Segoe UI" pitchFamily="34" charset="0"/>
                <a:ea typeface="Segoe UI" pitchFamily="34" charset="0"/>
                <a:cs typeface="Segoe UI" pitchFamily="34" charset="0"/>
              </a:rPr>
              <a:t>SlideShow</a:t>
            </a:r>
            <a:r>
              <a:rPr lang="en-US" sz="1050" b="0" i="0" u="none" strike="noStrike" kern="1200" dirty="0">
                <a:solidFill>
                  <a:schemeClr val="tx1"/>
                </a:solidFill>
                <a:effectLst/>
                <a:latin typeface="Segoe UI" pitchFamily="34" charset="0"/>
                <a:ea typeface="Segoe UI" pitchFamily="34" charset="0"/>
                <a:cs typeface="Segoe UI" pitchFamily="34" charset="0"/>
              </a:rPr>
              <a:t> webpart image URLs</a:t>
            </a:r>
          </a:p>
          <a:p>
            <a:r>
              <a:rPr lang="en-US" sz="1050" b="0" i="0" u="none" strike="noStrike" kern="1200" dirty="0">
                <a:solidFill>
                  <a:schemeClr val="tx1"/>
                </a:solidFill>
                <a:effectLst/>
                <a:latin typeface="Segoe UI" pitchFamily="34" charset="0"/>
                <a:ea typeface="Segoe UI" pitchFamily="34" charset="0"/>
                <a:cs typeface="Segoe UI" pitchFamily="34" charset="0"/>
              </a:rPr>
              <a:t>Image fields in </a:t>
            </a:r>
            <a:r>
              <a:rPr lang="en-US" sz="1050" b="0" i="0" u="none" strike="noStrike" kern="1200" dirty="0" err="1">
                <a:solidFill>
                  <a:schemeClr val="tx1"/>
                </a:solidFill>
                <a:effectLst/>
                <a:latin typeface="Segoe UI" pitchFamily="34" charset="0"/>
                <a:ea typeface="Segoe UI" pitchFamily="34" charset="0"/>
                <a:cs typeface="Segoe UI" pitchFamily="34" charset="0"/>
              </a:rPr>
              <a:t>SPList</a:t>
            </a:r>
            <a:r>
              <a:rPr lang="en-US" sz="1050" b="0" i="0" u="none" strike="noStrike" kern="1200" dirty="0">
                <a:solidFill>
                  <a:schemeClr val="tx1"/>
                </a:solidFill>
                <a:effectLst/>
                <a:latin typeface="Segoe UI" pitchFamily="34" charset="0"/>
                <a:ea typeface="Segoe UI" pitchFamily="34" charset="0"/>
                <a:cs typeface="Segoe UI" pitchFamily="34" charset="0"/>
              </a:rPr>
              <a:t> REST API (</a:t>
            </a:r>
            <a:r>
              <a:rPr lang="en-US" sz="1050" b="0" i="0" u="none" strike="noStrike" kern="1200" dirty="0" err="1">
                <a:solidFill>
                  <a:schemeClr val="tx1"/>
                </a:solidFill>
                <a:effectLst/>
                <a:latin typeface="Segoe UI" pitchFamily="34" charset="0"/>
                <a:ea typeface="Segoe UI" pitchFamily="34" charset="0"/>
                <a:cs typeface="Segoe UI" pitchFamily="34" charset="0"/>
              </a:rPr>
              <a:t>RenderListDataAsStream</a:t>
            </a:r>
            <a:r>
              <a:rPr lang="en-US" sz="1050" b="0" i="0" u="none" strike="noStrike" kern="1200" dirty="0">
                <a:solidFill>
                  <a:schemeClr val="tx1"/>
                </a:solidFill>
                <a:effectLst/>
                <a:latin typeface="Segoe UI" pitchFamily="34" charset="0"/>
                <a:ea typeface="Segoe UI" pitchFamily="34" charset="0"/>
                <a:cs typeface="Segoe UI" pitchFamily="34" charset="0"/>
              </a:rPr>
              <a:t>) results </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Use the new property </a:t>
            </a:r>
            <a:r>
              <a:rPr lang="en-US" sz="1050" b="0" i="1" u="none" strike="noStrike" kern="1200" dirty="0" err="1">
                <a:solidFill>
                  <a:schemeClr val="tx1"/>
                </a:solidFill>
                <a:effectLst/>
                <a:latin typeface="Segoe UI" pitchFamily="34" charset="0"/>
                <a:ea typeface="Segoe UI" pitchFamily="34" charset="0"/>
                <a:cs typeface="Segoe UI" pitchFamily="34" charset="0"/>
              </a:rPr>
              <a:t>ImageFieldsToTryRewriteToCdnUrls</a:t>
            </a:r>
            <a:r>
              <a:rPr lang="en-US" sz="1050" b="0" i="0" u="none" strike="noStrike" kern="1200" dirty="0">
                <a:solidFill>
                  <a:schemeClr val="tx1"/>
                </a:solidFill>
                <a:effectLst/>
                <a:latin typeface="Segoe UI" pitchFamily="34" charset="0"/>
                <a:ea typeface="Segoe UI" pitchFamily="34" charset="0"/>
                <a:cs typeface="Segoe UI" pitchFamily="34" charset="0"/>
              </a:rPr>
              <a:t> to provide a comma separated list of fields</a:t>
            </a:r>
          </a:p>
          <a:p>
            <a:pPr lvl="1"/>
            <a:r>
              <a:rPr lang="en-US" sz="1050" b="0" i="0" u="none" strike="noStrike" kern="1200" dirty="0">
                <a:solidFill>
                  <a:schemeClr val="tx1"/>
                </a:solidFill>
                <a:effectLst/>
                <a:latin typeface="Segoe UI" pitchFamily="34" charset="0"/>
                <a:ea typeface="Segoe UI" pitchFamily="34" charset="0"/>
                <a:cs typeface="Segoe UI" pitchFamily="34" charset="0"/>
              </a:rPr>
              <a:t>Supports hyperlink fields and </a:t>
            </a:r>
            <a:r>
              <a:rPr lang="en-US" sz="1050" b="0" i="0" u="none" strike="noStrike" kern="1200" dirty="0" err="1">
                <a:solidFill>
                  <a:schemeClr val="tx1"/>
                </a:solidFill>
                <a:effectLst/>
                <a:latin typeface="Segoe UI" pitchFamily="34" charset="0"/>
                <a:ea typeface="Segoe UI" pitchFamily="34" charset="0"/>
                <a:cs typeface="Segoe UI" pitchFamily="34" charset="0"/>
              </a:rPr>
              <a:t>PublishingImage</a:t>
            </a:r>
            <a:r>
              <a:rPr lang="en-US" sz="1050" b="0" i="0" u="none" strike="noStrike" kern="1200" dirty="0">
                <a:solidFill>
                  <a:schemeClr val="tx1"/>
                </a:solidFill>
                <a:effectLst/>
                <a:latin typeface="Segoe UI" pitchFamily="34" charset="0"/>
                <a:ea typeface="Segoe UI" pitchFamily="34" charset="0"/>
                <a:cs typeface="Segoe UI" pitchFamily="34" charset="0"/>
              </a:rPr>
              <a:t> fields</a:t>
            </a:r>
          </a:p>
          <a:p>
            <a:r>
              <a:rPr lang="en-US" sz="1050" b="0" i="0" u="none" strike="noStrike" kern="1200" dirty="0">
                <a:solidFill>
                  <a:schemeClr val="tx1"/>
                </a:solidFill>
                <a:effectLst/>
                <a:latin typeface="Segoe UI" pitchFamily="34" charset="0"/>
                <a:ea typeface="Segoe UI" pitchFamily="34" charset="0"/>
                <a:cs typeface="Segoe UI" pitchFamily="34" charset="0"/>
              </a:rPr>
              <a:t>SharePoint image renditions</a:t>
            </a:r>
          </a:p>
          <a:p>
            <a:pPr marL="228600" lvl="1" indent="-228600" defTabSz="933450">
              <a:lnSpc>
                <a:spcPct val="90000"/>
              </a:lnSpc>
              <a:spcBef>
                <a:spcPct val="0"/>
              </a:spcBef>
              <a:spcAft>
                <a:spcPct val="20000"/>
              </a:spcAft>
              <a:buFontTx/>
              <a:buChar char="•"/>
              <a:defRPr/>
            </a:pPr>
            <a:endParaRPr lang="en-US" sz="2000" dirty="0"/>
          </a:p>
          <a:p>
            <a:pPr marL="228600" lvl="1" indent="-228600" defTabSz="933450">
              <a:lnSpc>
                <a:spcPct val="90000"/>
              </a:lnSpc>
              <a:spcBef>
                <a:spcPct val="0"/>
              </a:spcBef>
              <a:spcAft>
                <a:spcPct val="20000"/>
              </a:spcAft>
              <a:buFontTx/>
              <a:buChar char="•"/>
              <a:defRPr/>
            </a:pPr>
            <a:r>
              <a:rPr lang="en-US" sz="2000" dirty="0"/>
              <a:t> When you host style sheets (CSS files) in a public origin, you can use relative paths and URIs within the code. This means that you can reference the location of background images and other objects relative to the location of the asset that's calling it.</a:t>
            </a:r>
            <a:br>
              <a:rPr lang="en-US" sz="2000" dirty="0"/>
            </a:br>
            <a:endParaRPr lang="en-US" sz="2000" dirty="0"/>
          </a:p>
          <a:p>
            <a:pPr marL="228600" lvl="1" indent="-228600" defTabSz="933450">
              <a:lnSpc>
                <a:spcPct val="90000"/>
              </a:lnSpc>
              <a:spcBef>
                <a:spcPct val="0"/>
              </a:spcBef>
              <a:spcAft>
                <a:spcPct val="20000"/>
              </a:spcAft>
              <a:buFontTx/>
              <a:buChar char="•"/>
              <a:defRPr/>
            </a:pPr>
            <a:r>
              <a:rPr lang="en-US" sz="2000" dirty="0"/>
              <a:t> The default file types that are included for public origins are .</a:t>
            </a:r>
            <a:r>
              <a:rPr lang="en-US" sz="2000" dirty="0" err="1"/>
              <a:t>css</a:t>
            </a:r>
            <a:r>
              <a:rPr lang="en-US" sz="2000" dirty="0"/>
              <a:t>, .</a:t>
            </a:r>
            <a:r>
              <a:rPr lang="en-US" sz="2000" dirty="0" err="1"/>
              <a:t>eot</a:t>
            </a:r>
            <a:r>
              <a:rPr lang="en-US" sz="2000" dirty="0"/>
              <a:t>, .gif, .</a:t>
            </a:r>
            <a:r>
              <a:rPr lang="en-US" sz="2000" dirty="0" err="1"/>
              <a:t>ico</a:t>
            </a:r>
            <a:r>
              <a:rPr lang="en-US" sz="2000" dirty="0"/>
              <a:t>, .jpeg, .jpg, .</a:t>
            </a:r>
            <a:r>
              <a:rPr lang="en-US" sz="2000" dirty="0" err="1"/>
              <a:t>js</a:t>
            </a:r>
            <a:r>
              <a:rPr lang="en-US" sz="2000" dirty="0"/>
              <a:t>, .map, .</a:t>
            </a:r>
            <a:r>
              <a:rPr lang="en-US" sz="2000" dirty="0" err="1"/>
              <a:t>png</a:t>
            </a:r>
            <a:r>
              <a:rPr lang="en-US" sz="2000" dirty="0"/>
              <a:t>, .</a:t>
            </a:r>
            <a:r>
              <a:rPr lang="en-US" sz="2000" dirty="0" err="1"/>
              <a:t>svg</a:t>
            </a:r>
            <a:r>
              <a:rPr lang="en-US" sz="2000" dirty="0"/>
              <a:t>, .</a:t>
            </a:r>
            <a:r>
              <a:rPr lang="en-US" sz="2000" dirty="0" err="1"/>
              <a:t>ttf</a:t>
            </a:r>
            <a:r>
              <a:rPr lang="en-US" sz="2000" dirty="0"/>
              <a:t>, and .</a:t>
            </a:r>
            <a:r>
              <a:rPr lang="en-US" sz="2000" dirty="0" err="1"/>
              <a:t>woff</a:t>
            </a:r>
            <a:r>
              <a:rPr lang="en-US" sz="2000" dirty="0"/>
              <a:t>. You can specify additional file types.</a:t>
            </a:r>
            <a:br>
              <a:rPr lang="en-US" sz="2000" dirty="0"/>
            </a:br>
            <a:endParaRPr lang="en-US" sz="2000" dirty="0"/>
          </a:p>
          <a:p>
            <a:pPr marL="228600" lvl="1" indent="-228600" defTabSz="933450">
              <a:lnSpc>
                <a:spcPct val="90000"/>
              </a:lnSpc>
              <a:spcBef>
                <a:spcPct val="0"/>
              </a:spcBef>
              <a:spcAft>
                <a:spcPct val="20000"/>
              </a:spcAft>
              <a:buFontTx/>
              <a:buChar char="•"/>
              <a:defRPr/>
            </a:pPr>
            <a:r>
              <a:rPr lang="en-US" sz="2000" dirty="0"/>
              <a:t> You can configure a policy to exclude all assets that are marked as "confidential" or "restricted" within your organization, even if they are an allowed file type and are located in a public origin.</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41756889"/>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028028202"/>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Token-based authorization in private origins</a:t>
            </a:r>
          </a:p>
          <a:p>
            <a:r>
              <a:rPr lang="en-US" sz="1050" b="0" i="0" u="none" strike="noStrike" kern="1200" dirty="0">
                <a:solidFill>
                  <a:schemeClr val="tx1"/>
                </a:solidFill>
                <a:effectLst/>
                <a:latin typeface="Segoe UI" pitchFamily="34" charset="0"/>
                <a:ea typeface="Segoe UI" pitchFamily="34" charset="0"/>
                <a:cs typeface="Segoe UI" pitchFamily="34" charset="0"/>
              </a:rPr>
              <a:t>Access to assets in private origins in the Microsoft 365 CDN is granted by tokens generated by SharePoint Online. Users who already have permission to access to the folder or library designated by the origin are automatically granted tokens that permit the user to access the file based on their permission level. These access tokens are valid for 30 to 90 minutes after they are generated to help prevent token replay attacks.</a:t>
            </a:r>
          </a:p>
          <a:p>
            <a:r>
              <a:rPr lang="en-US" sz="1050" b="0" i="0" u="none" strike="noStrike" kern="1200" dirty="0">
                <a:solidFill>
                  <a:schemeClr val="tx1"/>
                </a:solidFill>
                <a:effectLst/>
                <a:latin typeface="Segoe UI" pitchFamily="34" charset="0"/>
                <a:ea typeface="Segoe UI" pitchFamily="34" charset="0"/>
                <a:cs typeface="Segoe UI" pitchFamily="34" charset="0"/>
              </a:rPr>
              <a:t>Once the access token is generated, SharePoint Online returns a custom URI to the client containing two authorization parameters </a:t>
            </a:r>
            <a:r>
              <a:rPr lang="en-US" sz="1050" b="0" i="1" u="none" strike="noStrike" kern="1200" dirty="0">
                <a:solidFill>
                  <a:schemeClr val="tx1"/>
                </a:solidFill>
                <a:effectLst/>
                <a:latin typeface="Segoe UI" pitchFamily="34" charset="0"/>
                <a:ea typeface="Segoe UI" pitchFamily="34" charset="0"/>
                <a:cs typeface="Segoe UI" pitchFamily="34" charset="0"/>
              </a:rPr>
              <a:t>eat</a:t>
            </a:r>
            <a:r>
              <a:rPr lang="en-US" sz="1050" b="0" i="0" u="none" strike="noStrike" kern="1200" dirty="0">
                <a:solidFill>
                  <a:schemeClr val="tx1"/>
                </a:solidFill>
                <a:effectLst/>
                <a:latin typeface="Segoe UI" pitchFamily="34" charset="0"/>
                <a:ea typeface="Segoe UI" pitchFamily="34" charset="0"/>
                <a:cs typeface="Segoe UI" pitchFamily="34" charset="0"/>
              </a:rPr>
              <a:t> (edge authorization token) and </a:t>
            </a:r>
            <a:r>
              <a:rPr lang="en-US" sz="1050" b="0" i="1" u="none" strike="noStrike" kern="1200" dirty="0">
                <a:solidFill>
                  <a:schemeClr val="tx1"/>
                </a:solidFill>
                <a:effectLst/>
                <a:latin typeface="Segoe UI" pitchFamily="34" charset="0"/>
                <a:ea typeface="Segoe UI" pitchFamily="34" charset="0"/>
                <a:cs typeface="Segoe UI" pitchFamily="34" charset="0"/>
              </a:rPr>
              <a:t>oat</a:t>
            </a:r>
            <a:r>
              <a:rPr lang="en-US" sz="1050" b="0" i="0" u="none" strike="noStrike" kern="1200" dirty="0">
                <a:solidFill>
                  <a:schemeClr val="tx1"/>
                </a:solidFill>
                <a:effectLst/>
                <a:latin typeface="Segoe UI" pitchFamily="34" charset="0"/>
                <a:ea typeface="Segoe UI" pitchFamily="34" charset="0"/>
                <a:cs typeface="Segoe UI" pitchFamily="34" charset="0"/>
              </a:rPr>
              <a:t> (origin authorization token). The structure of each token is </a:t>
            </a:r>
            <a:r>
              <a:rPr lang="en-US" sz="1050" b="0" i="1" u="none" strike="noStrike" kern="1200" dirty="0">
                <a:solidFill>
                  <a:schemeClr val="tx1"/>
                </a:solidFill>
                <a:effectLst/>
                <a:latin typeface="Segoe UI" pitchFamily="34" charset="0"/>
                <a:ea typeface="Segoe UI" pitchFamily="34" charset="0"/>
                <a:cs typeface="Segoe UI" pitchFamily="34" charset="0"/>
              </a:rPr>
              <a:t>&lt;'expiration time in Epoch time format'&gt;__&lt;'secure signature'&gt;</a:t>
            </a:r>
            <a:r>
              <a:rPr lang="en-US" sz="1050" b="0" i="0" u="none" strike="noStrike" kern="1200" dirty="0">
                <a:solidFill>
                  <a:schemeClr val="tx1"/>
                </a:solidFill>
                <a:effectLst/>
                <a:latin typeface="Segoe UI" pitchFamily="34" charset="0"/>
                <a:ea typeface="Segoe UI" pitchFamily="34" charset="0"/>
                <a:cs typeface="Segoe UI" pitchFamily="34" charset="0"/>
              </a:rPr>
              <a:t>. For example:</a:t>
            </a:r>
          </a:p>
          <a:p>
            <a:r>
              <a:rPr lang="en-US" b="0" i="0" u="none" strike="noStrike" dirty="0">
                <a:effectLst/>
                <a:latin typeface="Segoe UI" panose="020B0502040204020203" pitchFamily="34" charset="0"/>
              </a:rPr>
              <a:t>HTML Copy </a:t>
            </a:r>
          </a:p>
          <a:p>
            <a:r>
              <a:rPr lang="en-US" dirty="0"/>
              <a:t>https://privatecdn.sharepointonline.com/contoso.sharepoint.com/sites/site1/library1/folder1/image1.jpg?eat=1486154359_cc59042c5c55c90b26a2775323c7c8112718431228fe84d568a3795a63912840&amp;oat=1486154359_7d73c2e3ba4b7b1f97242332900616db0d4ffb04312 </a:t>
            </a:r>
            <a:r>
              <a:rPr lang="en-US" b="1" i="0" u="none" strike="noStrike" dirty="0">
                <a:effectLst/>
                <a:latin typeface="Segoe UI" panose="020B0502040204020203" pitchFamily="34" charset="0"/>
              </a:rPr>
              <a:t>Note</a:t>
            </a:r>
          </a:p>
          <a:p>
            <a:r>
              <a:rPr lang="en-US" b="0" i="0" u="none" strike="noStrike" dirty="0">
                <a:effectLst/>
                <a:latin typeface="Segoe UI" panose="020B0502040204020203" pitchFamily="34" charset="0"/>
              </a:rPr>
              <a:t>Anyone in possession of the token can access the resource in the CDN. However, URLs containing these access tokens are only shared over HTTPS, so unless the URL is explicitly shared by an end user before the token expires, the asset won’t be accessible to unauthorized users.</a:t>
            </a:r>
          </a:p>
          <a:p>
            <a:r>
              <a:rPr lang="en-US" sz="1050" b="1" i="0" u="none" strike="noStrike" kern="1200" dirty="0">
                <a:solidFill>
                  <a:schemeClr val="tx1"/>
                </a:solidFill>
                <a:effectLst/>
                <a:latin typeface="Segoe UI" pitchFamily="34" charset="0"/>
                <a:ea typeface="Segoe UI" pitchFamily="34" charset="0"/>
                <a:cs typeface="Segoe UI" pitchFamily="34" charset="0"/>
              </a:rPr>
              <a:t>Item-level permissions are not supported for assets in private origins</a:t>
            </a:r>
          </a:p>
          <a:p>
            <a:r>
              <a:rPr lang="en-US" sz="1050" b="0" i="0" u="none" strike="noStrike" kern="1200" dirty="0">
                <a:solidFill>
                  <a:schemeClr val="tx1"/>
                </a:solidFill>
                <a:effectLst/>
                <a:latin typeface="Segoe UI" pitchFamily="34" charset="0"/>
                <a:ea typeface="Segoe UI" pitchFamily="34" charset="0"/>
                <a:cs typeface="Segoe UI" pitchFamily="34" charset="0"/>
              </a:rPr>
              <a:t>It is important to note that SharePoint Online does not support item-level permissions for assets in private origins. </a:t>
            </a:r>
          </a:p>
          <a:p>
            <a:pPr marL="0" marR="0" lvl="0" indent="0" algn="l" defTabSz="609585" rtl="0" eaLnBrk="1" fontAlgn="auto" latinLnBrk="0" hangingPunct="1">
              <a:lnSpc>
                <a:spcPct val="100000"/>
              </a:lnSpc>
              <a:spcBef>
                <a:spcPts val="400"/>
              </a:spcBef>
              <a:spcAft>
                <a:spcPts val="800"/>
              </a:spcAft>
              <a:buClrTx/>
              <a:buSzTx/>
              <a:buFont typeface="Arial" panose="020B0604020202020204" pitchFamily="34" charset="0"/>
              <a:buNone/>
              <a:tabLst/>
              <a:defRPr/>
            </a:pPr>
            <a:endParaRPr lang="en-US" dirty="0"/>
          </a:p>
          <a:p>
            <a:pPr marL="342900" marR="0" lvl="0" indent="-342900" algn="l" defTabSz="609585" rtl="0" eaLnBrk="1" fontAlgn="auto" latinLnBrk="0" hangingPunct="1">
              <a:lnSpc>
                <a:spcPct val="100000"/>
              </a:lnSpc>
              <a:spcBef>
                <a:spcPts val="400"/>
              </a:spcBef>
              <a:spcAft>
                <a:spcPts val="800"/>
              </a:spcAft>
              <a:buClrTx/>
              <a:buSzTx/>
              <a:buFont typeface="Arial" panose="020B0604020202020204" pitchFamily="34" charset="0"/>
              <a:buChar char="•"/>
              <a:tabLst/>
              <a:defRPr/>
            </a:pPr>
            <a:r>
              <a:rPr lang="en-US" dirty="0"/>
              <a:t>If you remove an asset from the private origin, the asset may continue to be available for up to an hour from the cache; however, we will invalidate links to the asset in the CDN within 15 minute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 default file types that are included for private origins are .gif, .</a:t>
            </a:r>
            <a:r>
              <a:rPr lang="en-US" dirty="0" err="1"/>
              <a:t>ico</a:t>
            </a:r>
            <a:r>
              <a:rPr lang="en-US" dirty="0"/>
              <a:t>, .jpeg, .jpg, .</a:t>
            </a:r>
            <a:r>
              <a:rPr lang="en-US" dirty="0" err="1"/>
              <a:t>js</a:t>
            </a:r>
            <a:r>
              <a:rPr lang="en-US" dirty="0"/>
              <a:t>, and .</a:t>
            </a:r>
            <a:r>
              <a:rPr lang="en-US" dirty="0" err="1"/>
              <a:t>png</a:t>
            </a:r>
            <a:r>
              <a:rPr lang="en-US" dirty="0"/>
              <a:t>. You can specify additional file type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Just like public origins, you can configure a policy to exclude assets that have been identified by site classifications that you specify even if you use wildcards to include all assets within a folder or Site Library.</a:t>
            </a:r>
            <a:endParaRPr kumimoji="0" lang="nb-NO" sz="800" b="0" i="0" u="none" strike="noStrike" kern="1200" cap="none" spc="0" normalizeH="0" baseline="0" noProof="0" dirty="0">
              <a:ln>
                <a:noFill/>
              </a:ln>
              <a:solidFill>
                <a:srgbClr val="505050">
                  <a:hueOff val="0"/>
                  <a:satOff val="0"/>
                  <a:lumOff val="0"/>
                  <a:alphaOff val="0"/>
                </a:srgbClr>
              </a:solidFill>
              <a:effectLst/>
              <a:uLnTx/>
              <a:uFillTx/>
              <a:latin typeface="Segoe UI"/>
              <a:ea typeface="Segoe UI" pitchFamily="34" charset="0"/>
              <a:cs typeface="Segoe UI" pitchFamily="34" charset="0"/>
            </a:endParaRPr>
          </a:p>
          <a:p>
            <a:pPr>
              <a:spcBef>
                <a:spcPts val="0"/>
              </a:spcBef>
              <a:spcAft>
                <a:spcPts val="0"/>
              </a:spcAft>
            </a:pPr>
            <a:endParaRPr lang="en-US" b="1" dirty="0"/>
          </a:p>
          <a:p>
            <a:pPr>
              <a:spcBef>
                <a:spcPts val="0"/>
              </a:spcBef>
              <a:spcAft>
                <a:spcPts val="0"/>
              </a:spcAft>
            </a:pPr>
            <a:r>
              <a:rPr lang="en-US" b="1" dirty="0"/>
              <a:t>For additional information see https://docs.microsoft.com/en-us/office365/enterprise/use-office-365-cdn-with-spo#plan-for-deployment-of-the-office-365-cdn</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404793333"/>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To enable your organization to use the Microsoft 365 CDN</a:t>
            </a:r>
          </a:p>
          <a:p>
            <a:r>
              <a:rPr lang="en-US" sz="1050" b="0" i="0" u="none" strike="noStrike" kern="1200" dirty="0">
                <a:solidFill>
                  <a:schemeClr val="tx1"/>
                </a:solidFill>
                <a:effectLst/>
                <a:latin typeface="Segoe UI" pitchFamily="34" charset="0"/>
                <a:ea typeface="Segoe UI" pitchFamily="34" charset="0"/>
                <a:cs typeface="Segoe UI" pitchFamily="34" charset="0"/>
              </a:rPr>
              <a:t>Use the </a:t>
            </a:r>
            <a:r>
              <a:rPr lang="en-US" sz="1050" b="1" i="0" u="none" strike="noStrike" kern="1200" dirty="0">
                <a:solidFill>
                  <a:schemeClr val="tx1"/>
                </a:solidFill>
                <a:effectLst/>
                <a:latin typeface="Segoe UI" pitchFamily="34" charset="0"/>
                <a:ea typeface="Segoe UI" pitchFamily="34" charset="0"/>
                <a:cs typeface="Segoe UI" pitchFamily="34" charset="0"/>
              </a:rPr>
              <a:t>Set-</a:t>
            </a:r>
            <a:r>
              <a:rPr lang="en-US" sz="1050" b="1" i="0" u="none" strike="noStrike" kern="1200" dirty="0" err="1">
                <a:solidFill>
                  <a:schemeClr val="tx1"/>
                </a:solidFill>
                <a:effectLst/>
                <a:latin typeface="Segoe UI" pitchFamily="34" charset="0"/>
                <a:ea typeface="Segoe UI" pitchFamily="34" charset="0"/>
                <a:cs typeface="Segoe UI" pitchFamily="34" charset="0"/>
              </a:rPr>
              <a:t>SPOTenantCdnEnabled</a:t>
            </a:r>
            <a:r>
              <a:rPr lang="en-US" sz="1050" b="0" i="0" u="none" strike="noStrike" kern="1200" dirty="0">
                <a:solidFill>
                  <a:schemeClr val="tx1"/>
                </a:solidFill>
                <a:effectLst/>
                <a:latin typeface="Segoe UI" pitchFamily="34" charset="0"/>
                <a:ea typeface="Segoe UI" pitchFamily="34" charset="0"/>
                <a:cs typeface="Segoe UI" pitchFamily="34" charset="0"/>
              </a:rPr>
              <a:t> cmdlet to enable your organization to use the Microsoft 365 CDN. You can enable your organization to use either public origins, private origins, or both with the CDN. You can also configure the Microsoft 365 CDN to skip the setup of default origins when you enable it. You can always add these origins later as described in this topic.</a:t>
            </a:r>
          </a:p>
          <a:p>
            <a:r>
              <a:rPr lang="en-US" sz="1050" b="0" i="0" u="none" strike="noStrike" kern="1200" dirty="0">
                <a:solidFill>
                  <a:schemeClr val="tx1"/>
                </a:solidFill>
                <a:effectLst/>
                <a:latin typeface="Segoe UI" pitchFamily="34" charset="0"/>
                <a:ea typeface="Segoe UI" pitchFamily="34" charset="0"/>
                <a:cs typeface="Segoe UI" pitchFamily="34" charset="0"/>
              </a:rPr>
              <a:t>In Windows </a:t>
            </a:r>
            <a:r>
              <a:rPr lang="en-US" sz="1050" b="0" i="0" u="none" strike="noStrike" kern="1200" dirty="0" err="1">
                <a:solidFill>
                  <a:schemeClr val="tx1"/>
                </a:solidFill>
                <a:effectLst/>
                <a:latin typeface="Segoe UI" pitchFamily="34" charset="0"/>
                <a:ea typeface="Segoe UI" pitchFamily="34" charset="0"/>
                <a:cs typeface="Segoe UI" pitchFamily="34" charset="0"/>
              </a:rPr>
              <a:t>Powershell</a:t>
            </a:r>
            <a:r>
              <a:rPr lang="en-US" sz="1050" b="0" i="0" u="none" strike="noStrike" kern="1200" dirty="0">
                <a:solidFill>
                  <a:schemeClr val="tx1"/>
                </a:solidFill>
                <a:effectLst/>
                <a:latin typeface="Segoe UI" pitchFamily="34" charset="0"/>
                <a:ea typeface="Segoe UI" pitchFamily="34" charset="0"/>
                <a:cs typeface="Segoe UI" pitchFamily="34" charset="0"/>
              </a:rPr>
              <a:t> for SharePoint Online:</a:t>
            </a:r>
          </a:p>
          <a:p>
            <a:r>
              <a:rPr lang="en-US" sz="1050" b="0" i="0" u="none" strike="noStrike" kern="1200" dirty="0">
                <a:solidFill>
                  <a:schemeClr val="tx1"/>
                </a:solidFill>
                <a:effectLst/>
                <a:latin typeface="Segoe UI" pitchFamily="34" charset="0"/>
                <a:ea typeface="Segoe UI" pitchFamily="34" charset="0"/>
                <a:cs typeface="Segoe UI" pitchFamily="34" charset="0"/>
              </a:rPr>
              <a:t>Copy </a:t>
            </a:r>
          </a:p>
          <a:p>
            <a:r>
              <a:rPr lang="en-US" dirty="0"/>
              <a:t>Set-</a:t>
            </a:r>
            <a:r>
              <a:rPr lang="en-US" dirty="0" err="1"/>
              <a:t>SPOTenantCdnEnabled</a:t>
            </a:r>
            <a:r>
              <a:rPr lang="en-US" dirty="0"/>
              <a:t> -</a:t>
            </a:r>
            <a:r>
              <a:rPr lang="en-US" dirty="0" err="1"/>
              <a:t>CdnType</a:t>
            </a:r>
            <a:r>
              <a:rPr lang="en-US" dirty="0"/>
              <a:t> &lt;Public | Private | Both&gt; -Enable $true </a:t>
            </a:r>
            <a:r>
              <a:rPr lang="en-US" sz="1050" b="0" i="0" u="none" strike="noStrike" kern="1200" dirty="0">
                <a:solidFill>
                  <a:schemeClr val="tx1"/>
                </a:solidFill>
                <a:effectLst/>
                <a:latin typeface="Segoe UI" pitchFamily="34" charset="0"/>
                <a:ea typeface="Segoe UI" pitchFamily="34" charset="0"/>
                <a:cs typeface="Segoe UI" pitchFamily="34" charset="0"/>
              </a:rPr>
              <a:t>For example, to enable your organization to use both public and private origins with the CDN, type the following command:</a:t>
            </a:r>
          </a:p>
          <a:p>
            <a:r>
              <a:rPr lang="en-US" sz="1050" b="0" i="0" u="none" strike="noStrike" kern="1200" dirty="0">
                <a:solidFill>
                  <a:schemeClr val="tx1"/>
                </a:solidFill>
                <a:effectLst/>
                <a:latin typeface="Segoe UI" pitchFamily="34" charset="0"/>
                <a:ea typeface="Segoe UI" pitchFamily="34" charset="0"/>
                <a:cs typeface="Segoe UI" pitchFamily="34" charset="0"/>
              </a:rPr>
              <a:t>Copy </a:t>
            </a:r>
          </a:p>
          <a:p>
            <a:r>
              <a:rPr lang="en-US" dirty="0"/>
              <a:t>Set-</a:t>
            </a:r>
            <a:r>
              <a:rPr lang="en-US" dirty="0" err="1"/>
              <a:t>SPOTenantCdnEnabled</a:t>
            </a:r>
            <a:r>
              <a:rPr lang="en-US" dirty="0"/>
              <a:t> -</a:t>
            </a:r>
            <a:r>
              <a:rPr lang="en-US" dirty="0" err="1"/>
              <a:t>CdnType</a:t>
            </a:r>
            <a:r>
              <a:rPr lang="en-US" dirty="0"/>
              <a:t> Both -Enable $true </a:t>
            </a:r>
            <a:r>
              <a:rPr lang="en-US" sz="1050" b="0" i="0" u="none" strike="noStrike" kern="1200" dirty="0">
                <a:solidFill>
                  <a:schemeClr val="tx1"/>
                </a:solidFill>
                <a:effectLst/>
                <a:latin typeface="Segoe UI" pitchFamily="34" charset="0"/>
                <a:ea typeface="Segoe UI" pitchFamily="34" charset="0"/>
                <a:cs typeface="Segoe UI" pitchFamily="34" charset="0"/>
              </a:rPr>
              <a:t>To enable your organization to use both public and private origins with the CDN but skip setting up the default origins, type the following command:</a:t>
            </a:r>
          </a:p>
          <a:p>
            <a:r>
              <a:rPr lang="en-US" sz="1050" b="0" i="0" u="none" strike="noStrike" kern="1200" dirty="0">
                <a:solidFill>
                  <a:schemeClr val="tx1"/>
                </a:solidFill>
                <a:effectLst/>
                <a:latin typeface="Segoe UI" pitchFamily="34" charset="0"/>
                <a:ea typeface="Segoe UI" pitchFamily="34" charset="0"/>
                <a:cs typeface="Segoe UI" pitchFamily="34" charset="0"/>
              </a:rPr>
              <a:t>Copy </a:t>
            </a:r>
          </a:p>
          <a:p>
            <a:r>
              <a:rPr lang="en-US" dirty="0"/>
              <a:t>Set-</a:t>
            </a:r>
            <a:r>
              <a:rPr lang="en-US" dirty="0" err="1"/>
              <a:t>SPOTenantCdnEnabled</a:t>
            </a:r>
            <a:r>
              <a:rPr lang="en-US" dirty="0"/>
              <a:t> -</a:t>
            </a:r>
            <a:r>
              <a:rPr lang="en-US" dirty="0" err="1"/>
              <a:t>CdnType</a:t>
            </a:r>
            <a:r>
              <a:rPr lang="en-US" dirty="0"/>
              <a:t> Both -Enable $true -</a:t>
            </a:r>
            <a:r>
              <a:rPr lang="en-US" dirty="0" err="1"/>
              <a:t>NoDefaultOrigins</a:t>
            </a:r>
            <a:r>
              <a:rPr lang="en-US" dirty="0"/>
              <a:t> </a:t>
            </a:r>
            <a:r>
              <a:rPr lang="en-US" sz="1050" b="0" i="0" u="none" strike="noStrike" kern="1200" dirty="0">
                <a:solidFill>
                  <a:schemeClr val="tx1"/>
                </a:solidFill>
                <a:effectLst/>
                <a:latin typeface="Segoe UI" pitchFamily="34" charset="0"/>
                <a:ea typeface="Segoe UI" pitchFamily="34" charset="0"/>
                <a:cs typeface="Segoe UI" pitchFamily="34" charset="0"/>
              </a:rPr>
              <a:t>To enable your organization to use public origins with the CDN, type the following command:</a:t>
            </a:r>
          </a:p>
          <a:p>
            <a:r>
              <a:rPr lang="en-US" sz="1050" b="0" i="0" u="none" strike="noStrike" kern="1200" dirty="0">
                <a:solidFill>
                  <a:schemeClr val="tx1"/>
                </a:solidFill>
                <a:effectLst/>
                <a:latin typeface="Segoe UI" pitchFamily="34" charset="0"/>
                <a:ea typeface="Segoe UI" pitchFamily="34" charset="0"/>
                <a:cs typeface="Segoe UI" pitchFamily="34" charset="0"/>
              </a:rPr>
              <a:t>Copy </a:t>
            </a:r>
          </a:p>
          <a:p>
            <a:r>
              <a:rPr lang="en-US" dirty="0"/>
              <a:t>Set-</a:t>
            </a:r>
            <a:r>
              <a:rPr lang="en-US" dirty="0" err="1"/>
              <a:t>SPOTenantCdnEnabled</a:t>
            </a:r>
            <a:r>
              <a:rPr lang="en-US" dirty="0"/>
              <a:t> -</a:t>
            </a:r>
            <a:r>
              <a:rPr lang="en-US" dirty="0" err="1"/>
              <a:t>CdnType</a:t>
            </a:r>
            <a:r>
              <a:rPr lang="en-US" dirty="0"/>
              <a:t> Public -Enable $true </a:t>
            </a:r>
            <a:r>
              <a:rPr lang="en-US" sz="1050" b="0" i="0" u="none" strike="noStrike" kern="1200" dirty="0">
                <a:solidFill>
                  <a:schemeClr val="tx1"/>
                </a:solidFill>
                <a:effectLst/>
                <a:latin typeface="Segoe UI" pitchFamily="34" charset="0"/>
                <a:ea typeface="Segoe UI" pitchFamily="34" charset="0"/>
                <a:cs typeface="Segoe UI" pitchFamily="34" charset="0"/>
              </a:rPr>
              <a:t>To enable your organization to use private origins with the CDN, type the following command:</a:t>
            </a:r>
          </a:p>
          <a:p>
            <a:r>
              <a:rPr lang="en-US" sz="1050" b="0" i="0" u="none" strike="noStrike" kern="1200" dirty="0">
                <a:solidFill>
                  <a:schemeClr val="tx1"/>
                </a:solidFill>
                <a:effectLst/>
                <a:latin typeface="Segoe UI" pitchFamily="34" charset="0"/>
                <a:ea typeface="Segoe UI" pitchFamily="34" charset="0"/>
                <a:cs typeface="Segoe UI" pitchFamily="34" charset="0"/>
              </a:rPr>
              <a:t>Copy </a:t>
            </a:r>
          </a:p>
          <a:p>
            <a:r>
              <a:rPr lang="en-US" dirty="0"/>
              <a:t>Set-</a:t>
            </a:r>
            <a:r>
              <a:rPr lang="en-US" dirty="0" err="1"/>
              <a:t>SPOTenantCdnEnabled</a:t>
            </a:r>
            <a:r>
              <a:rPr lang="en-US" dirty="0"/>
              <a:t> -</a:t>
            </a:r>
            <a:r>
              <a:rPr lang="en-US" dirty="0" err="1"/>
              <a:t>CdnType</a:t>
            </a:r>
            <a:r>
              <a:rPr lang="en-US" dirty="0"/>
              <a:t> Private -Enable $true </a:t>
            </a: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192001128"/>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0704475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88369713"/>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37565492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641474318"/>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 typeface="+mj-lt"/>
              <a:buAutoNum type="arabicPeriod"/>
              <a:tabLst/>
              <a:defRPr/>
            </a:pPr>
            <a:r>
              <a:rPr lang="en-US" dirty="0" err="1"/>
              <a:t>I</a:t>
            </a:r>
            <a:r>
              <a:rPr lang="en-US" sz="1050" baseline="0" dirty="0" err="1"/>
              <a:t>What</a:t>
            </a:r>
            <a:r>
              <a:rPr lang="en-US" sz="1050" baseline="0" dirty="0"/>
              <a:t> two Microsoft tools can be used to analyze and diagnose classic site page performance in SharePoint Online?</a:t>
            </a:r>
            <a:endParaRPr lang="nb-NO" sz="1050" dirty="0"/>
          </a:p>
          <a:p>
            <a:pPr marL="0" marR="0" lvl="0" indent="0" algn="l" defTabSz="609585" rtl="0" eaLnBrk="1" fontAlgn="auto" latinLnBrk="0" hangingPunct="1">
              <a:lnSpc>
                <a:spcPct val="100000"/>
              </a:lnSpc>
              <a:spcBef>
                <a:spcPts val="400"/>
              </a:spcBef>
              <a:spcAft>
                <a:spcPts val="800"/>
              </a:spcAft>
              <a:buClrTx/>
              <a:buSzTx/>
              <a:buFont typeface="+mj-lt"/>
              <a:buNone/>
              <a:tabLst/>
              <a:defRPr/>
            </a:pPr>
            <a:r>
              <a:rPr lang="en-US" b="1" dirty="0"/>
              <a:t>Answer</a:t>
            </a:r>
            <a:r>
              <a:rPr lang="en-US" dirty="0"/>
              <a:t>: </a:t>
            </a:r>
            <a:r>
              <a:rPr lang="en-US" sz="1050" dirty="0"/>
              <a:t>Microsoft Edge Developer Tools and the Page Diagnostic tool for SharePoint Online</a:t>
            </a:r>
            <a:endParaRPr lang="nb-NO" sz="1050" dirty="0"/>
          </a:p>
          <a:p>
            <a:pPr>
              <a:buFont typeface="+mj-lt"/>
              <a:buNone/>
            </a:pPr>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2"/>
              <a:tabLst/>
              <a:defRPr/>
            </a:pPr>
            <a:r>
              <a:rPr lang="en-US" sz="1050" baseline="0" dirty="0"/>
              <a:t>What two types of CDNs are available in Microsoft 365? </a:t>
            </a:r>
            <a:endParaRPr lang="nb-NO" sz="1050" dirty="0"/>
          </a:p>
          <a:p>
            <a:pPr>
              <a:buFont typeface="+mj-lt"/>
              <a:buNone/>
            </a:pPr>
            <a:r>
              <a:rPr lang="en-US" b="1" dirty="0"/>
              <a:t>Answer</a:t>
            </a:r>
            <a:r>
              <a:rPr lang="en-US" dirty="0"/>
              <a:t>: Public and Private</a:t>
            </a:r>
          </a:p>
          <a:p>
            <a:pPr>
              <a:buFont typeface="+mj-lt"/>
              <a:buAutoNum type="arabicPeriod" startAt="2"/>
            </a:pPr>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3"/>
              <a:tabLst/>
              <a:defRPr/>
            </a:pPr>
            <a:r>
              <a:rPr lang="en-US" sz="1050" baseline="0" dirty="0"/>
              <a:t>What PowerShell command is used to add a new CDN origin to a tenant? </a:t>
            </a:r>
            <a:endParaRPr lang="nb-NO" sz="1050" dirty="0"/>
          </a:p>
          <a:p>
            <a:pPr marL="0" marR="0" lvl="0" indent="0" algn="l" defTabSz="609585" rtl="0" eaLnBrk="1" fontAlgn="auto" latinLnBrk="0" hangingPunct="1">
              <a:lnSpc>
                <a:spcPct val="100000"/>
              </a:lnSpc>
              <a:spcBef>
                <a:spcPts val="400"/>
              </a:spcBef>
              <a:spcAft>
                <a:spcPts val="800"/>
              </a:spcAft>
              <a:buClrTx/>
              <a:buSzTx/>
              <a:buFont typeface="+mj-lt"/>
              <a:buNone/>
              <a:tabLst/>
              <a:defRPr/>
            </a:pPr>
            <a:r>
              <a:rPr lang="en-US" b="1" dirty="0" err="1"/>
              <a:t>Answer</a:t>
            </a:r>
            <a:r>
              <a:rPr lang="en-US" dirty="0" err="1"/>
              <a:t>:</a:t>
            </a:r>
            <a:r>
              <a:rPr lang="en-US" sz="1050" dirty="0" err="1"/>
              <a:t>Add-SPOTenantCDNOrigin</a:t>
            </a:r>
            <a:endParaRPr lang="nb-NO" sz="1050" dirty="0"/>
          </a:p>
          <a:p>
            <a:pPr>
              <a:buFont typeface="+mj-lt"/>
              <a:buNone/>
            </a:pPr>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89979268"/>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2712408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25840206"/>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33744420"/>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0" dirty="0"/>
              <a:t>TypeScript is. a typed superset of JavaScript that compiles to plain JavaScript. </a:t>
            </a:r>
            <a:r>
              <a:rPr lang="en-US" sz="1050" b="0" i="0" u="none" strike="noStrike" kern="1200" dirty="0">
                <a:solidFill>
                  <a:schemeClr val="tx1"/>
                </a:solidFill>
                <a:effectLst/>
                <a:latin typeface="Segoe UI" pitchFamily="34" charset="0"/>
                <a:ea typeface="Segoe UI" pitchFamily="34" charset="0"/>
                <a:cs typeface="Segoe UI" pitchFamily="34" charset="0"/>
              </a:rPr>
              <a:t>TypeScript compiles to clean, simple JavaScript code which runs on any browser, in Node.js, or in any JavaScript engine that supports ECMAScript 3 (or newer).</a:t>
            </a:r>
          </a:p>
          <a:p>
            <a:pPr>
              <a:spcBef>
                <a:spcPts val="0"/>
              </a:spcBef>
              <a:spcAft>
                <a:spcPts val="0"/>
              </a:spcAft>
            </a:pPr>
            <a:endParaRPr lang="en-US" sz="1050" b="0" i="0" u="none" strike="noStrike"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r>
              <a:rPr lang="en-US" sz="1050" b="0" i="0" u="none" strike="noStrike" kern="1200" dirty="0" err="1">
                <a:solidFill>
                  <a:schemeClr val="tx1"/>
                </a:solidFill>
                <a:effectLst/>
                <a:latin typeface="Segoe UI" pitchFamily="34" charset="0"/>
                <a:ea typeface="Segoe UI" pitchFamily="34" charset="0"/>
                <a:cs typeface="Segoe UI" pitchFamily="34" charset="0"/>
              </a:rPr>
              <a:t>ChakraCore</a:t>
            </a:r>
            <a:r>
              <a:rPr lang="en-US" sz="1050" b="0" i="0" u="none" strike="noStrike" kern="1200" dirty="0">
                <a:solidFill>
                  <a:schemeClr val="tx1"/>
                </a:solidFill>
                <a:effectLst/>
                <a:latin typeface="Segoe UI" pitchFamily="34" charset="0"/>
                <a:ea typeface="Segoe UI" pitchFamily="34" charset="0"/>
                <a:cs typeface="Segoe UI" pitchFamily="34" charset="0"/>
              </a:rPr>
              <a:t> is the core part of Chakra, the high-performance JavaScript engine that powers Microsoft Edge and Windows applications written in HTML/CSS/JS. </a:t>
            </a:r>
            <a:r>
              <a:rPr lang="en-US" sz="1050" b="0" i="0" u="none" strike="noStrike" kern="1200" dirty="0" err="1">
                <a:solidFill>
                  <a:schemeClr val="tx1"/>
                </a:solidFill>
                <a:effectLst/>
                <a:latin typeface="Segoe UI" pitchFamily="34" charset="0"/>
                <a:ea typeface="Segoe UI" pitchFamily="34" charset="0"/>
                <a:cs typeface="Segoe UI" pitchFamily="34" charset="0"/>
              </a:rPr>
              <a:t>ChakraCore</a:t>
            </a:r>
            <a:r>
              <a:rPr lang="en-US" sz="1050" b="0" i="0" u="none" strike="noStrike" kern="1200" dirty="0">
                <a:solidFill>
                  <a:schemeClr val="tx1"/>
                </a:solidFill>
                <a:effectLst/>
                <a:latin typeface="Segoe UI" pitchFamily="34" charset="0"/>
                <a:ea typeface="Segoe UI" pitchFamily="34" charset="0"/>
                <a:cs typeface="Segoe UI" pitchFamily="34" charset="0"/>
              </a:rPr>
              <a:t> supports Just-in-time (JIT) compilation of JavaScript for x86/x64/ARM, garbage collection, and a wide range of the latest JavaScript features. </a:t>
            </a:r>
            <a:r>
              <a:rPr lang="en-US" sz="1050" b="0" i="0" u="none" strike="noStrike" kern="1200" dirty="0" err="1">
                <a:solidFill>
                  <a:schemeClr val="tx1"/>
                </a:solidFill>
                <a:effectLst/>
                <a:latin typeface="Segoe UI" pitchFamily="34" charset="0"/>
                <a:ea typeface="Segoe UI" pitchFamily="34" charset="0"/>
                <a:cs typeface="Segoe UI" pitchFamily="34" charset="0"/>
              </a:rPr>
              <a:t>ChakraCore</a:t>
            </a:r>
            <a:r>
              <a:rPr lang="en-US" sz="1050" b="0" i="0" u="none" strike="noStrike" kern="1200" dirty="0">
                <a:solidFill>
                  <a:schemeClr val="tx1"/>
                </a:solidFill>
                <a:effectLst/>
                <a:latin typeface="Segoe UI" pitchFamily="34" charset="0"/>
                <a:ea typeface="Segoe UI" pitchFamily="34" charset="0"/>
                <a:cs typeface="Segoe UI" pitchFamily="34" charset="0"/>
              </a:rPr>
              <a:t> also supports the </a:t>
            </a:r>
            <a:r>
              <a:rPr lang="en-US" sz="1050" b="0" i="0" u="none" strike="noStrike" kern="1200" dirty="0">
                <a:solidFill>
                  <a:schemeClr val="tx1"/>
                </a:solidFill>
                <a:effectLst/>
                <a:latin typeface="Segoe UI" pitchFamily="34" charset="0"/>
                <a:ea typeface="Segoe UI" pitchFamily="34" charset="0"/>
                <a:cs typeface="Segoe UI" pitchFamily="34" charset="0"/>
                <a:hlinkClick r:id="rId3"/>
              </a:rPr>
              <a:t>JavaScript Runtime (JSRT) APIs</a:t>
            </a:r>
            <a:r>
              <a:rPr lang="en-US" sz="1050" b="0" i="0" u="none" strike="noStrike" kern="1200" dirty="0">
                <a:solidFill>
                  <a:schemeClr val="tx1"/>
                </a:solidFill>
                <a:effectLst/>
                <a:latin typeface="Segoe UI" pitchFamily="34" charset="0"/>
                <a:ea typeface="Segoe UI" pitchFamily="34" charset="0"/>
                <a:cs typeface="Segoe UI" pitchFamily="34" charset="0"/>
              </a:rPr>
              <a:t>, which allows you to easily embed </a:t>
            </a:r>
            <a:r>
              <a:rPr lang="en-US" sz="1050" b="0" i="0" u="none" strike="noStrike" kern="1200" dirty="0" err="1">
                <a:solidFill>
                  <a:schemeClr val="tx1"/>
                </a:solidFill>
                <a:effectLst/>
                <a:latin typeface="Segoe UI" pitchFamily="34" charset="0"/>
                <a:ea typeface="Segoe UI" pitchFamily="34" charset="0"/>
                <a:cs typeface="Segoe UI" pitchFamily="34" charset="0"/>
              </a:rPr>
              <a:t>ChakraCore</a:t>
            </a:r>
            <a:r>
              <a:rPr lang="en-US" sz="1050" b="0" i="0" u="none" strike="noStrike" kern="1200" dirty="0">
                <a:solidFill>
                  <a:schemeClr val="tx1"/>
                </a:solidFill>
                <a:effectLst/>
                <a:latin typeface="Segoe UI" pitchFamily="34" charset="0"/>
                <a:ea typeface="Segoe UI" pitchFamily="34" charset="0"/>
                <a:cs typeface="Segoe UI" pitchFamily="34" charset="0"/>
              </a:rPr>
              <a:t> in your applications.</a:t>
            </a:r>
            <a:endParaRPr lang="en-US" sz="1050" b="0" i="0" u="none" strike="noStrike" kern="1200" dirty="0">
              <a:solidFill>
                <a:schemeClr val="tx1"/>
              </a:solidFill>
              <a:effectLst/>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561238166"/>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b="0" i="0" u="none" strike="noStrike" kern="1200" dirty="0">
                <a:solidFill>
                  <a:schemeClr val="tx1"/>
                </a:solidFill>
                <a:effectLst/>
                <a:latin typeface="Segoe UI" pitchFamily="34" charset="0"/>
                <a:ea typeface="Segoe UI" pitchFamily="34" charset="0"/>
                <a:cs typeface="Segoe UI" pitchFamily="34" charset="0"/>
              </a:rPr>
              <a:t>NOTE:  A Service Worker is a script that your browser runs in the background, separate from a web page, opening the door to features that don't need a web page or user interaction.</a:t>
            </a:r>
            <a:endParaRPr lang="en-US" sz="1050" b="0" i="0" u="none" strike="noStrike" kern="1200" dirty="0">
              <a:solidFill>
                <a:schemeClr val="tx1"/>
              </a:solidFill>
              <a:effectLst/>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244550090"/>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b="1" i="0" u="none" strike="noStrike" kern="1200" dirty="0">
                <a:solidFill>
                  <a:schemeClr val="tx1"/>
                </a:solidFill>
                <a:effectLst/>
                <a:latin typeface="Segoe UI" pitchFamily="34" charset="0"/>
                <a:ea typeface="Segoe UI" pitchFamily="34" charset="0"/>
                <a:cs typeface="Segoe UI" pitchFamily="34" charset="0"/>
              </a:rPr>
              <a:t>X-</a:t>
            </a:r>
            <a:r>
              <a:rPr lang="en-US" sz="1050" b="1" i="0" u="none" strike="noStrike" kern="1200" dirty="0" err="1">
                <a:solidFill>
                  <a:schemeClr val="tx1"/>
                </a:solidFill>
                <a:effectLst/>
                <a:latin typeface="Segoe UI" pitchFamily="34" charset="0"/>
                <a:ea typeface="Segoe UI" pitchFamily="34" charset="0"/>
                <a:cs typeface="Segoe UI" pitchFamily="34" charset="0"/>
              </a:rPr>
              <a:t>SharePointHealthScore</a:t>
            </a:r>
            <a:r>
              <a:rPr lang="en-US" sz="1050" b="1" i="0" u="none" strike="noStrike" kern="1200" dirty="0">
                <a:solidFill>
                  <a:schemeClr val="tx1"/>
                </a:solidFill>
                <a:effectLst/>
                <a:latin typeface="Segoe UI" pitchFamily="34" charset="0"/>
                <a:ea typeface="Segoe UI" pitchFamily="34" charset="0"/>
                <a:cs typeface="Segoe UI" pitchFamily="34" charset="0"/>
              </a:rPr>
              <a:t> Header:</a:t>
            </a:r>
            <a:br>
              <a:rPr lang="en-US" sz="1050" b="0" i="0" u="none" strike="noStrike" kern="1200" dirty="0">
                <a:solidFill>
                  <a:schemeClr val="tx1"/>
                </a:solidFill>
                <a:effectLst/>
                <a:latin typeface="Segoe UI" pitchFamily="34" charset="0"/>
                <a:ea typeface="Segoe UI" pitchFamily="34" charset="0"/>
                <a:cs typeface="Segoe UI" pitchFamily="34" charset="0"/>
              </a:rPr>
            </a:br>
            <a:r>
              <a:rPr lang="en-US" sz="1050" b="0" i="0" u="none" strike="noStrike" kern="1200" dirty="0">
                <a:solidFill>
                  <a:schemeClr val="tx1"/>
                </a:solidFill>
                <a:effectLst/>
                <a:latin typeface="Segoe UI" pitchFamily="34" charset="0"/>
                <a:ea typeface="Segoe UI" pitchFamily="34" charset="0"/>
                <a:cs typeface="Segoe UI" pitchFamily="34" charset="0"/>
              </a:rPr>
              <a:t>The server can monitor the current load and its ability to process requests. If it monitors the load, it can return the load information to the client in a </a:t>
            </a:r>
            <a:r>
              <a:rPr lang="en-US" sz="1050" b="1" i="0" u="none" strike="noStrike" kern="1200" dirty="0">
                <a:solidFill>
                  <a:schemeClr val="tx1"/>
                </a:solidFill>
                <a:effectLst/>
                <a:latin typeface="Segoe UI" pitchFamily="34" charset="0"/>
                <a:ea typeface="Segoe UI" pitchFamily="34" charset="0"/>
                <a:cs typeface="Segoe UI" pitchFamily="34" charset="0"/>
              </a:rPr>
              <a:t>X-</a:t>
            </a:r>
            <a:r>
              <a:rPr lang="en-US" sz="1050" b="1" i="0" u="none" strike="noStrike" kern="1200" dirty="0" err="1">
                <a:solidFill>
                  <a:schemeClr val="tx1"/>
                </a:solidFill>
                <a:effectLst/>
                <a:latin typeface="Segoe UI" pitchFamily="34" charset="0"/>
                <a:ea typeface="Segoe UI" pitchFamily="34" charset="0"/>
                <a:cs typeface="Segoe UI" pitchFamily="34" charset="0"/>
              </a:rPr>
              <a:t>SharePointHealthScore</a:t>
            </a:r>
            <a:r>
              <a:rPr lang="en-US" sz="1050" b="0" i="0" u="none" strike="noStrike" kern="1200" dirty="0">
                <a:solidFill>
                  <a:schemeClr val="tx1"/>
                </a:solidFill>
                <a:effectLst/>
                <a:latin typeface="Segoe UI" pitchFamily="34" charset="0"/>
                <a:ea typeface="Segoe UI" pitchFamily="34" charset="0"/>
                <a:cs typeface="Segoe UI" pitchFamily="34" charset="0"/>
              </a:rPr>
              <a:t> header. This header specifies a value between 0 and 10, where 0 represents a low load and a high ability to process requests and 10 represents a high load and that the server is throttling requests to maintain adequate throughput. </a:t>
            </a:r>
            <a:br>
              <a:rPr lang="en-US" sz="1050" b="0" i="0" u="none" strike="noStrike" kern="1200" dirty="0">
                <a:solidFill>
                  <a:schemeClr val="tx1"/>
                </a:solidFill>
                <a:effectLst/>
                <a:latin typeface="Segoe UI" pitchFamily="34" charset="0"/>
                <a:ea typeface="Segoe UI" pitchFamily="34" charset="0"/>
                <a:cs typeface="Segoe UI" pitchFamily="34" charset="0"/>
              </a:rPr>
            </a:br>
            <a:r>
              <a:rPr lang="en-US" sz="1050" b="0" i="0" u="none" strike="noStrike" kern="1200" dirty="0">
                <a:solidFill>
                  <a:schemeClr val="tx1"/>
                </a:solidFill>
                <a:effectLst/>
                <a:latin typeface="Segoe UI" pitchFamily="34" charset="0"/>
                <a:ea typeface="Segoe UI" pitchFamily="34" charset="0"/>
                <a:cs typeface="Segoe UI" pitchFamily="34" charset="0"/>
              </a:rPr>
              <a:t>https://docs.microsoft.com/en-us/openspecs/sharepoint_protocols/ms-wsshp/c60ddeb6-4113-4a73-9e97-26b5c3907d33</a:t>
            </a:r>
          </a:p>
          <a:p>
            <a:pPr>
              <a:spcBef>
                <a:spcPts val="0"/>
              </a:spcBef>
              <a:spcAft>
                <a:spcPts val="0"/>
              </a:spcAft>
            </a:pPr>
            <a:endParaRPr lang="en-US" sz="1050" b="0" i="0" u="none" strike="noStrike"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0341475"/>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b="0" i="0" u="none" strike="noStrike" kern="1200" dirty="0">
              <a:solidFill>
                <a:schemeClr val="tx1"/>
              </a:solidFill>
              <a:effectLst/>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6956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3278314"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4165600" y="1408113"/>
            <a:ext cx="7370761"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8180832" y="1408113"/>
            <a:ext cx="3355529"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9" y="1408113"/>
            <a:ext cx="7281354"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www.typescriptlang.org/"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go.microsoft.com/fwlink/p/?linkid=285857" TargetMode="External"/><Relationship Id="rId5" Type="http://schemas.openxmlformats.org/officeDocument/2006/relationships/hyperlink" Target="https://www.microsoft.com/en-us/store/p/microsoft-edge-devtools-preview/9mzbfrmz0mnj" TargetMode="External"/><Relationship Id="rId4" Type="http://schemas.openxmlformats.org/officeDocument/2006/relationships/hyperlink" Target="https://github.com/Microsoft/ChakraCore"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docs.microsoft.com/en-us/microsoft-edge/devtools-guide/performance" TargetMode="External"/><Relationship Id="rId3" Type="http://schemas.openxmlformats.org/officeDocument/2006/relationships/image" Target="../media/image8.jpeg"/><Relationship Id="rId7" Type="http://schemas.openxmlformats.org/officeDocument/2006/relationships/hyperlink" Target="https://docs.microsoft.com/en-us/microsoft-edge/devtools-guide/network" TargetMode="External"/><Relationship Id="rId12" Type="http://schemas.openxmlformats.org/officeDocument/2006/relationships/hyperlink" Target="https://docs.microsoft.com/en-us/microsoft-edge/devtools-guide/service-workers"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hyperlink" Target="https://docs.microsoft.com/en-us/microsoft-edge/devtools-guide/debugger" TargetMode="External"/><Relationship Id="rId11" Type="http://schemas.openxmlformats.org/officeDocument/2006/relationships/hyperlink" Target="https://docs.microsoft.com/en-us/microsoft-edge/devtools-guide/storage" TargetMode="External"/><Relationship Id="rId5" Type="http://schemas.openxmlformats.org/officeDocument/2006/relationships/hyperlink" Target="https://docs.microsoft.com/en-us/microsoft-edge/devtools-guide/console" TargetMode="External"/><Relationship Id="rId10" Type="http://schemas.openxmlformats.org/officeDocument/2006/relationships/hyperlink" Target="https://docs.microsoft.com/en-us/microsoft-edge/devtools-guide/emulation" TargetMode="External"/><Relationship Id="rId4" Type="http://schemas.openxmlformats.org/officeDocument/2006/relationships/hyperlink" Target="https://docs.microsoft.com/en-us/microsoft-edge/devtools-guide/elements" TargetMode="External"/><Relationship Id="rId9" Type="http://schemas.openxmlformats.org/officeDocument/2006/relationships/hyperlink" Target="https://docs.microsoft.com/en-us/microsoft-edge/devtools-guide/memory"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hyperlink" Target="https://microsoftedge.microsoft.com/addons/detail/page-diagnostics-for-shar/ocemkolpnamjcacndljdfmhlpcaoipji" TargetMode="Externa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normAutofit fontScale="90000"/>
          </a:bodyPr>
          <a:lstStyle/>
          <a:p>
            <a:r>
              <a:rPr lang="en-US" dirty="0"/>
              <a:t>SharePoint Online page load </a:t>
            </a:r>
            <a:r>
              <a:rPr lang="en-US"/>
              <a:t>performance troubleshooting</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7" name="Picture Placeholder 6">
            <a:extLst>
              <a:ext uri="{FF2B5EF4-FFF2-40B4-BE49-F238E27FC236}">
                <a16:creationId xmlns:a16="http://schemas.microsoft.com/office/drawing/2014/main" id="{97876D43-FBB3-4C28-9922-00CD970D0934}"/>
              </a:ext>
            </a:extLst>
          </p:cNvPr>
          <p:cNvSpPr>
            <a:spLocks noGrp="1"/>
          </p:cNvSpPr>
          <p:nvPr>
            <p:ph type="pic" sz="quarter" idx="17"/>
          </p:nvPr>
        </p:nvSpPr>
        <p:spPr/>
      </p:sp>
    </p:spTree>
    <p:extLst>
      <p:ext uri="{BB962C8B-B14F-4D97-AF65-F5344CB8AC3E}">
        <p14:creationId xmlns:p14="http://schemas.microsoft.com/office/powerpoint/2010/main" val="1338941273"/>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1126796-E436-4EE3-B91D-8B4E5745A105}"/>
              </a:ext>
            </a:extLst>
          </p:cNvPr>
          <p:cNvSpPr/>
          <p:nvPr/>
        </p:nvSpPr>
        <p:spPr>
          <a:xfrm>
            <a:off x="269239" y="2770020"/>
            <a:ext cx="3234473" cy="70521"/>
          </a:xfrm>
          <a:custGeom>
            <a:avLst/>
            <a:gdLst>
              <a:gd name="connsiteX0" fmla="*/ 0 w 3234473"/>
              <a:gd name="connsiteY0" fmla="*/ 0 h 70521"/>
              <a:gd name="connsiteX1" fmla="*/ 3234473 w 3234473"/>
              <a:gd name="connsiteY1" fmla="*/ 0 h 70521"/>
              <a:gd name="connsiteX2" fmla="*/ 3234473 w 3234473"/>
              <a:gd name="connsiteY2" fmla="*/ 70521 h 70521"/>
              <a:gd name="connsiteX3" fmla="*/ 0 w 3234473"/>
              <a:gd name="connsiteY3" fmla="*/ 70521 h 70521"/>
              <a:gd name="connsiteX4" fmla="*/ 0 w 3234473"/>
              <a:gd name="connsiteY4" fmla="*/ 0 h 70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473" h="70521">
                <a:moveTo>
                  <a:pt x="0" y="0"/>
                </a:moveTo>
                <a:lnTo>
                  <a:pt x="3234473" y="0"/>
                </a:lnTo>
                <a:lnTo>
                  <a:pt x="3234473" y="70521"/>
                </a:lnTo>
                <a:lnTo>
                  <a:pt x="0" y="7052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2695" tIns="6350" rIns="35560" bIns="6350" numCol="1" spcCol="1270" anchor="t" anchorCtr="0">
            <a:noAutofit/>
          </a:bodyPr>
          <a:lstStyle/>
          <a:p>
            <a:pPr marL="57150" marR="0" lvl="1" indent="-57150" algn="ctr" defTabSz="177800" rtl="0" eaLnBrk="1" fontAlgn="auto" latinLnBrk="0" hangingPunct="1">
              <a:lnSpc>
                <a:spcPct val="90000"/>
              </a:lnSpc>
              <a:spcBef>
                <a:spcPct val="0"/>
              </a:spcBef>
              <a:spcAft>
                <a:spcPct val="20000"/>
              </a:spcAft>
              <a:buClrTx/>
              <a:buSzTx/>
              <a:buFontTx/>
              <a:buChar char="•"/>
              <a:tabLst/>
              <a:defRPr/>
            </a:pPr>
            <a:endParaRPr kumimoji="0" lang="nb-NO" sz="400" b="0" i="0" u="none" strike="noStrike" kern="1200" cap="none" spc="0" normalizeH="0" baseline="0" noProof="0" dirty="0">
              <a:ln>
                <a:noFill/>
              </a:ln>
              <a:solidFill>
                <a:srgbClr val="505050">
                  <a:hueOff val="0"/>
                  <a:satOff val="0"/>
                  <a:lumOff val="0"/>
                  <a:alphaOff val="0"/>
                </a:srgbClr>
              </a:solidFill>
              <a:effectLst/>
              <a:uLnTx/>
              <a:uFillTx/>
              <a:latin typeface="Segoe UI Light"/>
              <a:ea typeface="+mn-ea"/>
              <a:cs typeface="+mn-cs"/>
            </a:endParaRPr>
          </a:p>
        </p:txBody>
      </p:sp>
      <p:sp>
        <p:nvSpPr>
          <p:cNvPr id="2" name="Title 1"/>
          <p:cNvSpPr>
            <a:spLocks noGrp="1"/>
          </p:cNvSpPr>
          <p:nvPr>
            <p:ph type="title"/>
          </p:nvPr>
        </p:nvSpPr>
        <p:spPr>
          <a:xfrm>
            <a:off x="655638" y="320675"/>
            <a:ext cx="3887914" cy="460375"/>
          </a:xfrm>
        </p:spPr>
        <p:txBody>
          <a:bodyPr/>
          <a:lstStyle/>
          <a:p>
            <a:r>
              <a:rPr lang="en-US" dirty="0"/>
              <a:t>Page Diagnostic tool for SharePoint Online </a:t>
            </a:r>
          </a:p>
        </p:txBody>
      </p:sp>
      <p:sp>
        <p:nvSpPr>
          <p:cNvPr id="10" name="Text Placeholder 9">
            <a:extLst>
              <a:ext uri="{FF2B5EF4-FFF2-40B4-BE49-F238E27FC236}">
                <a16:creationId xmlns:a16="http://schemas.microsoft.com/office/drawing/2014/main" id="{976C4712-81B7-4FA5-8973-1A4DEBB21DF7}"/>
              </a:ext>
            </a:extLst>
          </p:cNvPr>
          <p:cNvSpPr>
            <a:spLocks noGrp="1"/>
          </p:cNvSpPr>
          <p:nvPr>
            <p:ph type="body" sz="quarter" idx="16"/>
          </p:nvPr>
        </p:nvSpPr>
        <p:spPr>
          <a:xfrm>
            <a:off x="655639" y="1408113"/>
            <a:ext cx="3638398" cy="4819650"/>
          </a:xfrm>
        </p:spPr>
        <p:txBody>
          <a:bodyPr>
            <a:normAutofit fontScale="70000" lnSpcReduction="20000"/>
          </a:bodyPr>
          <a:lstStyle/>
          <a:p>
            <a:pPr marL="342900" lvl="0" indent="-342900">
              <a:buFont typeface="Arial" panose="020B0604020202020204" pitchFamily="34" charset="0"/>
              <a:buChar char="•"/>
            </a:pPr>
            <a:r>
              <a:rPr lang="en-US" dirty="0"/>
              <a:t>The Correlation ID, </a:t>
            </a:r>
            <a:r>
              <a:rPr lang="en-US" dirty="0" err="1"/>
              <a:t>SPRequestDuration</a:t>
            </a:r>
            <a:r>
              <a:rPr lang="en-US" dirty="0"/>
              <a:t>, </a:t>
            </a:r>
            <a:r>
              <a:rPr lang="en-US" dirty="0" err="1"/>
              <a:t>SPIISLatency</a:t>
            </a:r>
            <a:r>
              <a:rPr lang="en-US" dirty="0"/>
              <a:t>, Page load time, and URL details are informational</a:t>
            </a:r>
          </a:p>
          <a:p>
            <a:pPr marL="342900" lvl="0" indent="-342900">
              <a:buFont typeface="Arial" panose="020B0604020202020204" pitchFamily="34" charset="0"/>
              <a:buChar char="•"/>
            </a:pPr>
            <a:r>
              <a:rPr lang="en-US" dirty="0"/>
              <a:t>Check Requests to SharePoint -verifies the number of requests being made to SharePoint.</a:t>
            </a:r>
          </a:p>
          <a:p>
            <a:pPr marL="342900" lvl="0" indent="-342900">
              <a:buFont typeface="Arial" panose="020B0604020202020204" pitchFamily="34" charset="0"/>
              <a:buChar char="•"/>
            </a:pPr>
            <a:r>
              <a:rPr lang="en-US" dirty="0"/>
              <a:t>Check using CDN  - flags items on page that could be served from CDN </a:t>
            </a:r>
          </a:p>
          <a:p>
            <a:pPr marL="342900" lvl="0" indent="-342900">
              <a:buFont typeface="Arial" panose="020B0604020202020204" pitchFamily="34" charset="0"/>
              <a:buChar char="•"/>
            </a:pPr>
            <a:r>
              <a:rPr lang="en-US" dirty="0"/>
              <a:t>Web parts using iFrames – Flagged if page contains three or more web parts using iFrames</a:t>
            </a:r>
          </a:p>
          <a:p>
            <a:pPr marL="342900" lvl="0" indent="-342900">
              <a:buFont typeface="Arial" panose="020B0604020202020204" pitchFamily="34" charset="0"/>
              <a:buChar char="•"/>
            </a:pPr>
            <a:r>
              <a:rPr lang="en-US" dirty="0"/>
              <a:t>Check for Large Image Sizes – Flags Images / image renditions larger than 300kb </a:t>
            </a:r>
            <a:br>
              <a:rPr lang="en-US" dirty="0"/>
            </a:br>
            <a:r>
              <a:rPr lang="en-US" dirty="0"/>
              <a:t>Option to export report to HTTP Archive file – helpful when working with Microsoft Support</a:t>
            </a:r>
          </a:p>
        </p:txBody>
      </p:sp>
      <p:sp>
        <p:nvSpPr>
          <p:cNvPr id="16" name="Picture Placeholder 15">
            <a:extLst>
              <a:ext uri="{FF2B5EF4-FFF2-40B4-BE49-F238E27FC236}">
                <a16:creationId xmlns:a16="http://schemas.microsoft.com/office/drawing/2014/main" id="{5D94B7FB-7918-48AE-A4EF-3917D56C1A59}"/>
              </a:ext>
            </a:extLst>
          </p:cNvPr>
          <p:cNvSpPr>
            <a:spLocks noGrp="1"/>
          </p:cNvSpPr>
          <p:nvPr>
            <p:ph type="pic" sz="quarter" idx="15"/>
          </p:nvPr>
        </p:nvSpPr>
        <p:spPr>
          <a:xfrm>
            <a:off x="4710176" y="0"/>
            <a:ext cx="7481506" cy="6858000"/>
          </a:xfrm>
        </p:spPr>
      </p:sp>
      <p:pic>
        <p:nvPicPr>
          <p:cNvPr id="5" name="Picture 4">
            <a:extLst>
              <a:ext uri="{FF2B5EF4-FFF2-40B4-BE49-F238E27FC236}">
                <a16:creationId xmlns:a16="http://schemas.microsoft.com/office/drawing/2014/main" id="{EA66A780-54BF-4204-8F01-87FE4CF2D10C}"/>
              </a:ext>
            </a:extLst>
          </p:cNvPr>
          <p:cNvPicPr>
            <a:picLocks noChangeAspect="1"/>
          </p:cNvPicPr>
          <p:nvPr/>
        </p:nvPicPr>
        <p:blipFill>
          <a:blip r:embed="rId3"/>
          <a:stretch>
            <a:fillRect/>
          </a:stretch>
        </p:blipFill>
        <p:spPr>
          <a:xfrm>
            <a:off x="4841387" y="1051001"/>
            <a:ext cx="7235806" cy="4661680"/>
          </a:xfrm>
          <a:prstGeom prst="rect">
            <a:avLst/>
          </a:prstGeom>
        </p:spPr>
      </p:pic>
      <p:pic>
        <p:nvPicPr>
          <p:cNvPr id="12" name="Picture 11">
            <a:extLst>
              <a:ext uri="{FF2B5EF4-FFF2-40B4-BE49-F238E27FC236}">
                <a16:creationId xmlns:a16="http://schemas.microsoft.com/office/drawing/2014/main" id="{66363A3F-3C23-4920-BC75-32F4E568A038}"/>
              </a:ext>
            </a:extLst>
          </p:cNvPr>
          <p:cNvPicPr>
            <a:picLocks noChangeAspect="1"/>
          </p:cNvPicPr>
          <p:nvPr/>
        </p:nvPicPr>
        <p:blipFill>
          <a:blip r:embed="rId4"/>
          <a:stretch>
            <a:fillRect/>
          </a:stretch>
        </p:blipFill>
        <p:spPr>
          <a:xfrm>
            <a:off x="6220426" y="1444115"/>
            <a:ext cx="4047815" cy="4880826"/>
          </a:xfrm>
          <a:prstGeom prst="rect">
            <a:avLst/>
          </a:prstGeom>
        </p:spPr>
      </p:pic>
      <p:pic>
        <p:nvPicPr>
          <p:cNvPr id="13" name="Picture 12">
            <a:extLst>
              <a:ext uri="{FF2B5EF4-FFF2-40B4-BE49-F238E27FC236}">
                <a16:creationId xmlns:a16="http://schemas.microsoft.com/office/drawing/2014/main" id="{09E5B966-42CE-42AF-88CF-8C5F9AD27E31}"/>
              </a:ext>
            </a:extLst>
          </p:cNvPr>
          <p:cNvPicPr>
            <a:picLocks noChangeAspect="1"/>
          </p:cNvPicPr>
          <p:nvPr/>
        </p:nvPicPr>
        <p:blipFill>
          <a:blip r:embed="rId5"/>
          <a:stretch>
            <a:fillRect/>
          </a:stretch>
        </p:blipFill>
        <p:spPr>
          <a:xfrm>
            <a:off x="6207090" y="1439389"/>
            <a:ext cx="3768157" cy="4511005"/>
          </a:xfrm>
          <a:prstGeom prst="rect">
            <a:avLst/>
          </a:prstGeom>
        </p:spPr>
      </p:pic>
      <p:pic>
        <p:nvPicPr>
          <p:cNvPr id="14" name="Picture 13">
            <a:extLst>
              <a:ext uri="{FF2B5EF4-FFF2-40B4-BE49-F238E27FC236}">
                <a16:creationId xmlns:a16="http://schemas.microsoft.com/office/drawing/2014/main" id="{F108F90B-CBA1-47C7-BB1A-23239B6E2ED3}"/>
              </a:ext>
            </a:extLst>
          </p:cNvPr>
          <p:cNvPicPr>
            <a:picLocks noChangeAspect="1"/>
          </p:cNvPicPr>
          <p:nvPr/>
        </p:nvPicPr>
        <p:blipFill>
          <a:blip r:embed="rId6"/>
          <a:stretch>
            <a:fillRect/>
          </a:stretch>
        </p:blipFill>
        <p:spPr>
          <a:xfrm>
            <a:off x="6554957" y="1469175"/>
            <a:ext cx="3683797" cy="3477834"/>
          </a:xfrm>
          <a:prstGeom prst="rect">
            <a:avLst/>
          </a:prstGeom>
        </p:spPr>
      </p:pic>
      <p:pic>
        <p:nvPicPr>
          <p:cNvPr id="6" name="Picture 5">
            <a:extLst>
              <a:ext uri="{FF2B5EF4-FFF2-40B4-BE49-F238E27FC236}">
                <a16:creationId xmlns:a16="http://schemas.microsoft.com/office/drawing/2014/main" id="{DB94DB5E-B65C-45E7-AA36-A9AB3793E130}"/>
              </a:ext>
            </a:extLst>
          </p:cNvPr>
          <p:cNvPicPr>
            <a:picLocks noChangeAspect="1"/>
          </p:cNvPicPr>
          <p:nvPr/>
        </p:nvPicPr>
        <p:blipFill>
          <a:blip r:embed="rId7"/>
          <a:stretch>
            <a:fillRect/>
          </a:stretch>
        </p:blipFill>
        <p:spPr>
          <a:xfrm>
            <a:off x="6195227" y="1444115"/>
            <a:ext cx="3888432" cy="4644005"/>
          </a:xfrm>
          <a:prstGeom prst="rect">
            <a:avLst/>
          </a:prstGeom>
        </p:spPr>
      </p:pic>
      <p:pic>
        <p:nvPicPr>
          <p:cNvPr id="3" name="Picture 2">
            <a:extLst>
              <a:ext uri="{FF2B5EF4-FFF2-40B4-BE49-F238E27FC236}">
                <a16:creationId xmlns:a16="http://schemas.microsoft.com/office/drawing/2014/main" id="{1640FD0C-E254-412B-AD3E-9DED79ED05CF}"/>
              </a:ext>
            </a:extLst>
          </p:cNvPr>
          <p:cNvPicPr>
            <a:picLocks noChangeAspect="1"/>
          </p:cNvPicPr>
          <p:nvPr/>
        </p:nvPicPr>
        <p:blipFill>
          <a:blip r:embed="rId8"/>
          <a:stretch>
            <a:fillRect/>
          </a:stretch>
        </p:blipFill>
        <p:spPr>
          <a:xfrm>
            <a:off x="6304388" y="2567413"/>
            <a:ext cx="4000847" cy="3071126"/>
          </a:xfrm>
          <a:prstGeom prst="rect">
            <a:avLst/>
          </a:prstGeom>
        </p:spPr>
      </p:pic>
    </p:spTree>
    <p:extLst>
      <p:ext uri="{BB962C8B-B14F-4D97-AF65-F5344CB8AC3E}">
        <p14:creationId xmlns:p14="http://schemas.microsoft.com/office/powerpoint/2010/main" val="343090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13"/>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2"/>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4"/>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6"/>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7"/>
            <a:ext cx="4352926" cy="2493962"/>
          </a:xfrm>
        </p:spPr>
        <p:txBody>
          <a:bodyPr/>
          <a:lstStyle/>
          <a:p>
            <a:r>
              <a:rPr lang="en-US" dirty="0"/>
              <a:t>Demonstration</a:t>
            </a:r>
            <a:endParaRPr lang="nb-NO" dirty="0"/>
          </a:p>
        </p:txBody>
      </p:sp>
      <p:sp>
        <p:nvSpPr>
          <p:cNvPr id="3" name="Text Placeholder 2"/>
          <p:cNvSpPr>
            <a:spLocks noGrp="1"/>
          </p:cNvSpPr>
          <p:nvPr>
            <p:ph type="body" sz="quarter" idx="10"/>
          </p:nvPr>
        </p:nvSpPr>
        <p:spPr>
          <a:xfrm>
            <a:off x="655320" y="3584448"/>
            <a:ext cx="4352925" cy="2643188"/>
          </a:xfrm>
        </p:spPr>
        <p:txBody>
          <a:bodyPr>
            <a:normAutofit/>
          </a:bodyPr>
          <a:lstStyle/>
          <a:p>
            <a:r>
              <a:rPr lang="nb-NO" dirty="0"/>
              <a:t>Demo using the Microsoft Edge Developer Tools</a:t>
            </a:r>
          </a:p>
          <a:p>
            <a:r>
              <a:rPr lang="nb-NO" dirty="0"/>
              <a:t>Download and demostrate the Page diagnostic tool for SharePoint Online</a:t>
            </a:r>
          </a:p>
        </p:txBody>
      </p:sp>
    </p:spTree>
    <p:extLst>
      <p:ext uri="{BB962C8B-B14F-4D97-AF65-F5344CB8AC3E}">
        <p14:creationId xmlns:p14="http://schemas.microsoft.com/office/powerpoint/2010/main" val="3746839097"/>
      </p:ext>
    </p:extLst>
  </p:cSld>
  <p:clrMapOvr>
    <a:masterClrMapping/>
  </p:clrMapOvr>
</p:sld>
</file>

<file path=ppt/slides/slide1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the Content Delivery Network (CDN) </a:t>
            </a:r>
            <a:endParaRPr lang="nb-NO" dirty="0"/>
          </a:p>
        </p:txBody>
      </p:sp>
    </p:spTree>
    <p:extLst>
      <p:ext uri="{BB962C8B-B14F-4D97-AF65-F5344CB8AC3E}">
        <p14:creationId xmlns:p14="http://schemas.microsoft.com/office/powerpoint/2010/main" val="499339043"/>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Content Delivery Network </a:t>
            </a:r>
          </a:p>
        </p:txBody>
      </p:sp>
      <p:sp>
        <p:nvSpPr>
          <p:cNvPr id="4" name="Content Placeholder 3">
            <a:extLst>
              <a:ext uri="{FF2B5EF4-FFF2-40B4-BE49-F238E27FC236}">
                <a16:creationId xmlns:a16="http://schemas.microsoft.com/office/drawing/2014/main" id="{DBA4A4CC-642A-49EB-8E6B-ACD69D5D17B3}"/>
              </a:ext>
            </a:extLst>
          </p:cNvPr>
          <p:cNvSpPr>
            <a:spLocks noGrp="1"/>
          </p:cNvSpPr>
          <p:nvPr>
            <p:ph sz="quarter" idx="13"/>
          </p:nvPr>
        </p:nvSpPr>
        <p:spPr>
          <a:xfrm>
            <a:off x="655638" y="1408114"/>
            <a:ext cx="10880726" cy="4819650"/>
          </a:xfrm>
        </p:spPr>
        <p:txBody>
          <a:bodyPr/>
          <a:lstStyle/>
          <a:p>
            <a:pPr lvl="1"/>
            <a:r>
              <a:rPr lang="en-US" dirty="0"/>
              <a:t>The Microsoft 365 CDN is included as part of your SharePoint Online subscription. You don't have to pay extra for it. </a:t>
            </a:r>
          </a:p>
          <a:p>
            <a:pPr lvl="1"/>
            <a:endParaRPr lang="en-US" dirty="0"/>
          </a:p>
          <a:p>
            <a:pPr lvl="1"/>
            <a:r>
              <a:rPr lang="en-US" dirty="0"/>
              <a:t>You can host static assets in the Microsoft 365 content delivery network (CDN) to provide better performance for your SharePoint Online pages. </a:t>
            </a:r>
          </a:p>
          <a:p>
            <a:pPr lvl="1"/>
            <a:endParaRPr lang="en-US" dirty="0"/>
          </a:p>
          <a:p>
            <a:pPr lvl="1"/>
            <a:r>
              <a:rPr lang="en-US" dirty="0"/>
              <a:t>Static assets are files that don't change very often, like images, video and audio, style sheets, fonts, and JavaScript files. </a:t>
            </a:r>
          </a:p>
          <a:p>
            <a:pPr lvl="1"/>
            <a:endParaRPr lang="en-US" dirty="0"/>
          </a:p>
          <a:p>
            <a:pPr lvl="1"/>
            <a:r>
              <a:rPr lang="en-US" dirty="0"/>
              <a:t>The CDN works as a geographically distributed caching proxy, by caching static assets closer to the browsers requesting them.</a:t>
            </a:r>
          </a:p>
          <a:p>
            <a:pPr lvl="1"/>
            <a:endParaRPr lang="en-US" noProof="0" dirty="0"/>
          </a:p>
          <a:p>
            <a:pPr lvl="1"/>
            <a:endParaRPr lang="nb-NO" noProof="0" dirty="0"/>
          </a:p>
          <a:p>
            <a:endParaRPr lang="en-US" dirty="0"/>
          </a:p>
        </p:txBody>
      </p:sp>
    </p:spTree>
    <p:extLst>
      <p:ext uri="{BB962C8B-B14F-4D97-AF65-F5344CB8AC3E}">
        <p14:creationId xmlns:p14="http://schemas.microsoft.com/office/powerpoint/2010/main" val="1579639267"/>
      </p:ext>
    </p:extLst>
  </p:cSld>
  <p:clrMapOvr>
    <a:masterClrMapping/>
  </p:clrMapOvr>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a:ln w="3175">
                  <a:noFill/>
                </a:ln>
                <a:effectLst/>
              </a:rPr>
              <a:t>CDN Planning</a:t>
            </a:r>
          </a:p>
        </p:txBody>
      </p:sp>
      <p:graphicFrame>
        <p:nvGraphicFramePr>
          <p:cNvPr id="7" name="Diagram 4">
            <a:extLst>
              <a:ext uri="{FF2B5EF4-FFF2-40B4-BE49-F238E27FC236}">
                <a16:creationId xmlns:a16="http://schemas.microsoft.com/office/drawing/2014/main" id="{2A72B80E-368F-46BA-81AA-FA4B296D9DF8}"/>
              </a:ext>
            </a:extLst>
          </p:cNvPr>
          <p:cNvGraphicFramePr/>
          <p:nvPr>
            <p:extLst>
              <p:ext uri="{D42A27DB-BD31-4B8C-83A1-F6EECF244321}">
                <p14:modId xmlns:p14="http://schemas.microsoft.com/office/powerpoint/2010/main" val="342802171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7017928"/>
      </p:ext>
    </p:extLst>
  </p:cSld>
  <p:clrMapOvr>
    <a:masterClrMapping/>
  </p:clrMapOvr>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t">
            <a:normAutofit/>
          </a:bodyPr>
          <a:lstStyle/>
          <a:p>
            <a:r>
              <a:rPr lang="en-US" dirty="0"/>
              <a:t>Public CDN origins</a:t>
            </a:r>
          </a:p>
        </p:txBody>
      </p:sp>
      <p:sp>
        <p:nvSpPr>
          <p:cNvPr id="7" name="Content Placeholder 6">
            <a:extLst>
              <a:ext uri="{FF2B5EF4-FFF2-40B4-BE49-F238E27FC236}">
                <a16:creationId xmlns:a16="http://schemas.microsoft.com/office/drawing/2014/main" id="{D256C828-EE3A-4900-91EA-1B742EA7CDF0}"/>
              </a:ext>
            </a:extLst>
          </p:cNvPr>
          <p:cNvSpPr>
            <a:spLocks noGrp="1"/>
          </p:cNvSpPr>
          <p:nvPr>
            <p:ph sz="quarter" idx="13"/>
          </p:nvPr>
        </p:nvSpPr>
        <p:spPr>
          <a:xfrm>
            <a:off x="655638" y="1408113"/>
            <a:ext cx="3278314" cy="4819650"/>
          </a:xfrm>
        </p:spPr>
        <p:txBody>
          <a:bodyPr>
            <a:normAutofit fontScale="92500" lnSpcReduction="20000"/>
          </a:bodyPr>
          <a:lstStyle/>
          <a:p>
            <a:r>
              <a:rPr lang="en-US" dirty="0"/>
              <a:t>Public origins within the Microsoft 365 CDN </a:t>
            </a:r>
            <a:br>
              <a:rPr lang="en-US" dirty="0"/>
            </a:br>
            <a:r>
              <a:rPr lang="en-US" dirty="0"/>
              <a:t>are accessible anonymously and hosted </a:t>
            </a:r>
            <a:br>
              <a:rPr lang="en-US" dirty="0"/>
            </a:br>
            <a:r>
              <a:rPr lang="en-US" dirty="0"/>
              <a:t>assets can be accessed by anyone who </a:t>
            </a:r>
            <a:br>
              <a:rPr lang="en-US" dirty="0"/>
            </a:br>
            <a:r>
              <a:rPr lang="en-US" dirty="0"/>
              <a:t>has the URL to the asset. </a:t>
            </a:r>
          </a:p>
          <a:p>
            <a:endParaRPr lang="en-US" dirty="0"/>
          </a:p>
          <a:p>
            <a:r>
              <a:rPr lang="en-US" dirty="0"/>
              <a:t>Because access to content in public </a:t>
            </a:r>
            <a:br>
              <a:rPr lang="en-US" dirty="0"/>
            </a:br>
            <a:r>
              <a:rPr lang="en-US" dirty="0"/>
              <a:t>origins is anonymous, you should only </a:t>
            </a:r>
            <a:br>
              <a:rPr lang="en-US" dirty="0"/>
            </a:br>
            <a:r>
              <a:rPr lang="en-US" dirty="0"/>
              <a:t>use them to cache non-sensitive generic </a:t>
            </a:r>
            <a:br>
              <a:rPr lang="en-US" dirty="0"/>
            </a:br>
            <a:r>
              <a:rPr lang="en-US" dirty="0"/>
              <a:t>content such as JavaScript files, </a:t>
            </a:r>
            <a:br>
              <a:rPr lang="en-US" dirty="0"/>
            </a:br>
            <a:r>
              <a:rPr lang="en-US" dirty="0"/>
              <a:t>scripts, icons and images</a:t>
            </a:r>
          </a:p>
        </p:txBody>
      </p:sp>
      <p:sp>
        <p:nvSpPr>
          <p:cNvPr id="12" name="Content Placeholder 11">
            <a:extLst>
              <a:ext uri="{FF2B5EF4-FFF2-40B4-BE49-F238E27FC236}">
                <a16:creationId xmlns:a16="http://schemas.microsoft.com/office/drawing/2014/main" id="{D2735F77-30CD-4141-A371-2092FC565BD7}"/>
              </a:ext>
            </a:extLst>
          </p:cNvPr>
          <p:cNvSpPr>
            <a:spLocks noGrp="1"/>
          </p:cNvSpPr>
          <p:nvPr>
            <p:ph sz="quarter" idx="14"/>
          </p:nvPr>
        </p:nvSpPr>
        <p:spPr/>
        <p:txBody>
          <a:bodyPr/>
          <a:lstStyle/>
          <a:p>
            <a:endParaRPr lang="en-US"/>
          </a:p>
        </p:txBody>
      </p:sp>
      <p:pic>
        <p:nvPicPr>
          <p:cNvPr id="4" name="Picture 3">
            <a:extLst>
              <a:ext uri="{FF2B5EF4-FFF2-40B4-BE49-F238E27FC236}">
                <a16:creationId xmlns:a16="http://schemas.microsoft.com/office/drawing/2014/main" id="{F1341401-BECB-4194-9314-04E675A19FF4}"/>
              </a:ext>
            </a:extLst>
          </p:cNvPr>
          <p:cNvPicPr>
            <a:picLocks noChangeAspect="1"/>
          </p:cNvPicPr>
          <p:nvPr/>
        </p:nvPicPr>
        <p:blipFill>
          <a:blip r:embed="rId3"/>
          <a:stretch>
            <a:fillRect/>
          </a:stretch>
        </p:blipFill>
        <p:spPr>
          <a:xfrm>
            <a:off x="4165600" y="1468508"/>
            <a:ext cx="7370761" cy="4698859"/>
          </a:xfrm>
          <a:prstGeom prst="rect">
            <a:avLst/>
          </a:prstGeom>
          <a:noFill/>
        </p:spPr>
      </p:pic>
    </p:spTree>
    <p:extLst>
      <p:ext uri="{BB962C8B-B14F-4D97-AF65-F5344CB8AC3E}">
        <p14:creationId xmlns:p14="http://schemas.microsoft.com/office/powerpoint/2010/main" val="650792312"/>
      </p:ext>
    </p:extLst>
  </p:cSld>
  <p:clrMapOvr>
    <a:masterClrMapping/>
  </p:clrMapOvr>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2A19A3A-D6F2-48C5-ACA5-3135D93D6509}"/>
              </a:ext>
            </a:extLst>
          </p:cNvPr>
          <p:cNvSpPr>
            <a:spLocks noGrp="1"/>
          </p:cNvSpPr>
          <p:nvPr>
            <p:ph type="title"/>
          </p:nvPr>
        </p:nvSpPr>
        <p:spPr/>
        <p:txBody>
          <a:bodyPr/>
          <a:lstStyle/>
          <a:p>
            <a:r>
              <a:rPr lang="en-US"/>
              <a:t>Attributes and advantages of hosting assets in a public origin</a:t>
            </a:r>
            <a:endParaRPr lang="en-US" dirty="0"/>
          </a:p>
        </p:txBody>
      </p:sp>
      <p:sp>
        <p:nvSpPr>
          <p:cNvPr id="27" name="Subtitle 26">
            <a:extLst>
              <a:ext uri="{FF2B5EF4-FFF2-40B4-BE49-F238E27FC236}">
                <a16:creationId xmlns:a16="http://schemas.microsoft.com/office/drawing/2014/main" id="{CE2A8CF0-5B00-484C-BCF3-CD3D3F1A6002}"/>
              </a:ext>
            </a:extLst>
          </p:cNvPr>
          <p:cNvSpPr>
            <a:spLocks noGrp="1"/>
          </p:cNvSpPr>
          <p:nvPr>
            <p:ph type="subTitle" idx="1"/>
          </p:nvPr>
        </p:nvSpPr>
        <p:spPr/>
        <p:txBody>
          <a:bodyPr/>
          <a:lstStyle/>
          <a:p>
            <a:r>
              <a:rPr lang="en-US" dirty="0"/>
              <a:t>Public CDN</a:t>
            </a:r>
          </a:p>
        </p:txBody>
      </p:sp>
      <p:graphicFrame>
        <p:nvGraphicFramePr>
          <p:cNvPr id="26" name="Content Placeholder 25">
            <a:extLst>
              <a:ext uri="{FF2B5EF4-FFF2-40B4-BE49-F238E27FC236}">
                <a16:creationId xmlns:a16="http://schemas.microsoft.com/office/drawing/2014/main" id="{7DBE6E3A-E33E-47ED-895E-D7A082654FC0}"/>
              </a:ext>
            </a:extLst>
          </p:cNvPr>
          <p:cNvGraphicFramePr>
            <a:graphicFrameLocks noGrp="1"/>
          </p:cNvGraphicFramePr>
          <p:nvPr>
            <p:ph sz="quarter" idx="13"/>
            <p:extLst>
              <p:ext uri="{D42A27DB-BD31-4B8C-83A1-F6EECF244321}">
                <p14:modId xmlns:p14="http://schemas.microsoft.com/office/powerpoint/2010/main" val="349580879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90834681"/>
      </p:ext>
    </p:extLst>
  </p:cSld>
  <p:clrMapOvr>
    <a:masterClrMapping/>
  </p:clrMapOvr>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3F23A9BE-09C3-43DB-BD3B-5EB34F6A61ED}"/>
              </a:ext>
            </a:extLst>
          </p:cNvPr>
          <p:cNvSpPr/>
          <p:nvPr/>
        </p:nvSpPr>
        <p:spPr>
          <a:xfrm>
            <a:off x="269239" y="1772816"/>
            <a:ext cx="11653522" cy="4896544"/>
          </a:xfrm>
          <a:custGeom>
            <a:avLst/>
            <a:gdLst>
              <a:gd name="connsiteX0" fmla="*/ 0 w 11653522"/>
              <a:gd name="connsiteY0" fmla="*/ 0 h 4170766"/>
              <a:gd name="connsiteX1" fmla="*/ 11653522 w 11653522"/>
              <a:gd name="connsiteY1" fmla="*/ 0 h 4170766"/>
              <a:gd name="connsiteX2" fmla="*/ 11653522 w 11653522"/>
              <a:gd name="connsiteY2" fmla="*/ 4170766 h 4170766"/>
              <a:gd name="connsiteX3" fmla="*/ 0 w 11653522"/>
              <a:gd name="connsiteY3" fmla="*/ 4170766 h 4170766"/>
              <a:gd name="connsiteX4" fmla="*/ 0 w 11653522"/>
              <a:gd name="connsiteY4" fmla="*/ 0 h 4170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170766">
                <a:moveTo>
                  <a:pt x="0" y="0"/>
                </a:moveTo>
                <a:lnTo>
                  <a:pt x="11653522" y="0"/>
                </a:lnTo>
                <a:lnTo>
                  <a:pt x="11653522" y="4170766"/>
                </a:lnTo>
                <a:lnTo>
                  <a:pt x="0" y="41707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4290" rIns="192024" bIns="34290" numCol="1" spcCol="1270" anchor="t" anchorCtr="0">
            <a:noAutofit/>
          </a:bodyPr>
          <a:lstStyle/>
          <a:p>
            <a:pPr marL="0" marR="0" lvl="1" algn="l" defTabSz="933450" rtl="0" eaLnBrk="1" fontAlgn="auto" latinLnBrk="0" hangingPunct="1">
              <a:lnSpc>
                <a:spcPct val="90000"/>
              </a:lnSpc>
              <a:spcBef>
                <a:spcPct val="0"/>
              </a:spcBef>
              <a:spcAft>
                <a:spcPct val="20000"/>
              </a:spcAft>
              <a:buClrTx/>
              <a:buSzTx/>
              <a:tabLst/>
              <a:defRPr/>
            </a:pPr>
            <a:endParaRPr kumimoji="0" lang="en-US" sz="18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Private CDN origins</a:t>
            </a:r>
          </a:p>
        </p:txBody>
      </p:sp>
      <p:sp>
        <p:nvSpPr>
          <p:cNvPr id="10" name="Content Placeholder 9">
            <a:extLst>
              <a:ext uri="{FF2B5EF4-FFF2-40B4-BE49-F238E27FC236}">
                <a16:creationId xmlns:a16="http://schemas.microsoft.com/office/drawing/2014/main" id="{26F0B574-8C4C-40BC-B6B0-B06FECB6C7A0}"/>
              </a:ext>
            </a:extLst>
          </p:cNvPr>
          <p:cNvSpPr>
            <a:spLocks noGrp="1"/>
          </p:cNvSpPr>
          <p:nvPr>
            <p:ph sz="quarter" idx="13"/>
          </p:nvPr>
        </p:nvSpPr>
        <p:spPr/>
        <p:txBody>
          <a:bodyPr>
            <a:normAutofit/>
          </a:bodyPr>
          <a:lstStyle/>
          <a:p>
            <a:pPr lvl="1"/>
            <a:r>
              <a:rPr lang="en-US" noProof="0" dirty="0"/>
              <a:t>Access to content in private origins is </a:t>
            </a:r>
            <a:br>
              <a:rPr lang="en-US" dirty="0"/>
            </a:br>
            <a:r>
              <a:rPr lang="en-US" noProof="0" dirty="0"/>
              <a:t>secured by dynamically generated tokens</a:t>
            </a:r>
            <a:br>
              <a:rPr lang="en-US" noProof="0" dirty="0"/>
            </a:br>
            <a:r>
              <a:rPr lang="en-US" noProof="0" dirty="0"/>
              <a:t>so it can only be accessed by users with</a:t>
            </a:r>
            <a:br>
              <a:rPr lang="en-US" noProof="0" dirty="0"/>
            </a:br>
            <a:r>
              <a:rPr lang="en-US" noProof="0" dirty="0"/>
              <a:t>permissions to the original document </a:t>
            </a:r>
            <a:br>
              <a:rPr lang="en-US" noProof="0" dirty="0"/>
            </a:br>
            <a:r>
              <a:rPr lang="en-US" noProof="0" dirty="0"/>
              <a:t>library or storage location.</a:t>
            </a:r>
            <a:br>
              <a:rPr lang="en-US" noProof="0" dirty="0"/>
            </a:br>
            <a:endParaRPr lang="en-US" noProof="0" dirty="0"/>
          </a:p>
          <a:p>
            <a:pPr lvl="1"/>
            <a:r>
              <a:rPr lang="en-US" dirty="0"/>
              <a:t>SharePoint Online automatically rewrites</a:t>
            </a:r>
            <a:br>
              <a:rPr lang="en-US" dirty="0"/>
            </a:br>
            <a:r>
              <a:rPr lang="en-US" dirty="0"/>
              <a:t>URLs for assets in private origins </a:t>
            </a:r>
            <a:br>
              <a:rPr lang="en-US" dirty="0"/>
            </a:br>
            <a:r>
              <a:rPr lang="en-US" dirty="0"/>
              <a:t>so requests for those assets will</a:t>
            </a:r>
            <a:br>
              <a:rPr lang="en-US" dirty="0"/>
            </a:br>
            <a:r>
              <a:rPr lang="en-US" dirty="0"/>
              <a:t>always be served from the CDN.</a:t>
            </a:r>
            <a:endParaRPr lang="en-US" noProof="0" dirty="0"/>
          </a:p>
        </p:txBody>
      </p:sp>
      <p:pic>
        <p:nvPicPr>
          <p:cNvPr id="17" name="Content Placeholder 16">
            <a:extLst>
              <a:ext uri="{FF2B5EF4-FFF2-40B4-BE49-F238E27FC236}">
                <a16:creationId xmlns:a16="http://schemas.microsoft.com/office/drawing/2014/main" id="{BF3B77C7-347E-4F96-BFA8-8CF89EAAAC7F}"/>
              </a:ext>
            </a:extLst>
          </p:cNvPr>
          <p:cNvPicPr>
            <a:picLocks noGrp="1" noChangeAspect="1"/>
          </p:cNvPicPr>
          <p:nvPr>
            <p:ph sz="quarter" idx="14"/>
          </p:nvPr>
        </p:nvPicPr>
        <p:blipFill>
          <a:blip r:embed="rId3"/>
          <a:stretch>
            <a:fillRect/>
          </a:stretch>
        </p:blipFill>
        <p:spPr>
          <a:xfrm>
            <a:off x="6251575" y="2191849"/>
            <a:ext cx="5284788" cy="3252177"/>
          </a:xfrm>
        </p:spPr>
      </p:pic>
    </p:spTree>
    <p:extLst>
      <p:ext uri="{BB962C8B-B14F-4D97-AF65-F5344CB8AC3E}">
        <p14:creationId xmlns:p14="http://schemas.microsoft.com/office/powerpoint/2010/main" val="2704716449"/>
      </p:ext>
    </p:extLst>
  </p:cSld>
  <p:clrMapOvr>
    <a:masterClrMapping/>
  </p:clrMapOvr>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and advantages of hosting assets in a private origin</a:t>
            </a:r>
          </a:p>
        </p:txBody>
      </p:sp>
      <p:sp>
        <p:nvSpPr>
          <p:cNvPr id="4" name="Content Placeholder 3">
            <a:extLst>
              <a:ext uri="{FF2B5EF4-FFF2-40B4-BE49-F238E27FC236}">
                <a16:creationId xmlns:a16="http://schemas.microsoft.com/office/drawing/2014/main" id="{F279A062-031A-429C-8451-07473DE87526}"/>
              </a:ext>
            </a:extLst>
          </p:cNvPr>
          <p:cNvSpPr>
            <a:spLocks noGrp="1"/>
          </p:cNvSpPr>
          <p:nvPr>
            <p:ph sz="quarter" idx="13"/>
          </p:nvPr>
        </p:nvSpPr>
        <p:spPr/>
        <p:txBody>
          <a:bodyPr/>
          <a:lstStyle/>
          <a:p>
            <a:pPr marL="342900" indent="-342900">
              <a:buFont typeface="Arial" panose="020B0604020202020204" pitchFamily="34" charset="0"/>
              <a:buChar char="•"/>
            </a:pPr>
            <a:r>
              <a:rPr lang="en-US" sz="2000" dirty="0"/>
              <a:t>Access to assets in private origins in the Microsoft 365 CDN is granted by tokens generated by SharePoint Online</a:t>
            </a:r>
          </a:p>
          <a:p>
            <a:pPr marL="952485" lvl="1" indent="-342900">
              <a:buFont typeface="Arial" panose="020B0604020202020204" pitchFamily="34" charset="0"/>
              <a:buChar char="•"/>
            </a:pPr>
            <a:r>
              <a:rPr lang="en-US" sz="1800" dirty="0"/>
              <a:t>Anonymous access to these assets is prevented.</a:t>
            </a:r>
          </a:p>
          <a:p>
            <a:endParaRPr lang="en-US" sz="2000" dirty="0"/>
          </a:p>
          <a:p>
            <a:pPr marL="342900" indent="-342900">
              <a:buFont typeface="Arial" panose="020B0604020202020204" pitchFamily="34" charset="0"/>
              <a:buChar char="•"/>
            </a:pPr>
            <a:r>
              <a:rPr lang="en-US" sz="2000" dirty="0"/>
              <a:t>Users must have permission to access to the folder or library designated as the private origin</a:t>
            </a:r>
          </a:p>
          <a:p>
            <a:pPr marL="952485" lvl="1" indent="-342900">
              <a:buFont typeface="Arial" panose="020B0604020202020204" pitchFamily="34" charset="0"/>
              <a:buChar char="•"/>
            </a:pPr>
            <a:r>
              <a:rPr lang="en-US" sz="1800" dirty="0"/>
              <a:t>Item-level permissions are not supported for assets in private origins </a:t>
            </a:r>
          </a:p>
          <a:p>
            <a:endParaRPr lang="en-US" sz="2000" dirty="0"/>
          </a:p>
          <a:p>
            <a:pPr marL="342900" indent="-342900">
              <a:buFont typeface="Arial" panose="020B0604020202020204" pitchFamily="34" charset="0"/>
              <a:buChar char="•"/>
            </a:pPr>
            <a:r>
              <a:rPr lang="en-US" sz="2000" dirty="0"/>
              <a:t>Access tokens are valid for 30 to 90 minutes after they are generated to help prevent token replay attacks.</a:t>
            </a:r>
          </a:p>
          <a:p>
            <a:endParaRPr lang="en-US" sz="2000" dirty="0"/>
          </a:p>
          <a:p>
            <a:pPr marL="342900" indent="-342900">
              <a:buFont typeface="Arial" panose="020B0604020202020204" pitchFamily="34" charset="0"/>
              <a:buChar char="•"/>
            </a:pPr>
            <a:r>
              <a:rPr lang="en-US" sz="2000" dirty="0"/>
              <a:t>You cannot hardcode CDN URLs to assets in a private origin because the required access token that forms the last section of the URL is generated at the time the resource is requested.</a:t>
            </a:r>
          </a:p>
          <a:p>
            <a:pPr marL="342900" indent="-342900">
              <a:buFont typeface="Arial" panose="020B0604020202020204" pitchFamily="34" charset="0"/>
              <a:buChar char="•"/>
            </a:pPr>
            <a:endParaRPr lang="en-US" sz="2000" dirty="0"/>
          </a:p>
          <a:p>
            <a:endParaRPr lang="en-US" dirty="0"/>
          </a:p>
          <a:p>
            <a:endParaRPr lang="en-US" dirty="0"/>
          </a:p>
        </p:txBody>
      </p:sp>
    </p:spTree>
    <p:extLst>
      <p:ext uri="{BB962C8B-B14F-4D97-AF65-F5344CB8AC3E}">
        <p14:creationId xmlns:p14="http://schemas.microsoft.com/office/powerpoint/2010/main" val="1738408417"/>
      </p:ext>
    </p:extLst>
  </p:cSld>
  <p:clrMapOvr>
    <a:masterClrMapping/>
  </p:clrMapOvr>
</p:sld>
</file>

<file path=ppt/slides/slide19.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455617565"/>
              </p:ext>
            </p:extLst>
          </p:nvPr>
        </p:nvGraphicFramePr>
        <p:xfrm>
          <a:off x="655637" y="1640583"/>
          <a:ext cx="10880725" cy="41140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dirty="0"/>
              <a:t>Enabling the Microsoft 365 CDN in your tenant</a:t>
            </a:r>
          </a:p>
        </p:txBody>
      </p:sp>
    </p:spTree>
    <p:extLst>
      <p:ext uri="{BB962C8B-B14F-4D97-AF65-F5344CB8AC3E}">
        <p14:creationId xmlns:p14="http://schemas.microsoft.com/office/powerpoint/2010/main" val="324812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
                                            <p:graphicEl>
                                              <a:dgm id="{366584DA-524D-4B49-9DEA-8DF3CE2D8CCD}"/>
                                            </p:graphicEl>
                                          </p:spTgt>
                                        </p:tgtEl>
                                        <p:attrNameLst>
                                          <p:attrName>style.visibility</p:attrName>
                                        </p:attrNameLst>
                                      </p:cBhvr>
                                      <p:to>
                                        <p:strVal val="visible"/>
                                      </p:to>
                                    </p:set>
                                    <p:anim calcmode="lin" valueType="num">
                                      <p:cBhvr additive="base">
                                        <p:cTn id="7" dur="500" fill="hold"/>
                                        <p:tgtEl>
                                          <p:spTgt spid="3">
                                            <p:graphicEl>
                                              <a:dgm id="{366584DA-524D-4B49-9DEA-8DF3CE2D8CCD}"/>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366584DA-524D-4B49-9DEA-8DF3CE2D8CCD}"/>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A07DFE39-5F95-49E5-8CFB-22FA4667B8EC}"/>
                                            </p:graphicEl>
                                          </p:spTgt>
                                        </p:tgtEl>
                                        <p:attrNameLst>
                                          <p:attrName>style.visibility</p:attrName>
                                        </p:attrNameLst>
                                      </p:cBhvr>
                                      <p:to>
                                        <p:strVal val="visible"/>
                                      </p:to>
                                    </p:set>
                                    <p:anim calcmode="lin" valueType="num">
                                      <p:cBhvr additive="base">
                                        <p:cTn id="11" dur="500" fill="hold"/>
                                        <p:tgtEl>
                                          <p:spTgt spid="3">
                                            <p:graphicEl>
                                              <a:dgm id="{A07DFE39-5F95-49E5-8CFB-22FA4667B8EC}"/>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A07DFE39-5F95-49E5-8CFB-22FA4667B8EC}"/>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2B6103BC-0760-4276-8A3A-D5D2C84B5734}"/>
                                            </p:graphicEl>
                                          </p:spTgt>
                                        </p:tgtEl>
                                        <p:attrNameLst>
                                          <p:attrName>style.visibility</p:attrName>
                                        </p:attrNameLst>
                                      </p:cBhvr>
                                      <p:to>
                                        <p:strVal val="visible"/>
                                      </p:to>
                                    </p:set>
                                    <p:anim calcmode="lin" valueType="num">
                                      <p:cBhvr additive="base">
                                        <p:cTn id="17" dur="500" fill="hold"/>
                                        <p:tgtEl>
                                          <p:spTgt spid="3">
                                            <p:graphicEl>
                                              <a:dgm id="{2B6103BC-0760-4276-8A3A-D5D2C84B5734}"/>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2B6103BC-0760-4276-8A3A-D5D2C84B5734}"/>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66D7054C-9095-4B1D-8F13-911141949FDA}"/>
                                            </p:graphicEl>
                                          </p:spTgt>
                                        </p:tgtEl>
                                        <p:attrNameLst>
                                          <p:attrName>style.visibility</p:attrName>
                                        </p:attrNameLst>
                                      </p:cBhvr>
                                      <p:to>
                                        <p:strVal val="visible"/>
                                      </p:to>
                                    </p:set>
                                    <p:anim calcmode="lin" valueType="num">
                                      <p:cBhvr additive="base">
                                        <p:cTn id="21" dur="500" fill="hold"/>
                                        <p:tgtEl>
                                          <p:spTgt spid="3">
                                            <p:graphicEl>
                                              <a:dgm id="{66D7054C-9095-4B1D-8F13-911141949FDA}"/>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66D7054C-9095-4B1D-8F13-911141949FDA}"/>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10F04D1F-6356-4752-887B-CD7A3E2E0497}"/>
                                            </p:graphicEl>
                                          </p:spTgt>
                                        </p:tgtEl>
                                        <p:attrNameLst>
                                          <p:attrName>style.visibility</p:attrName>
                                        </p:attrNameLst>
                                      </p:cBhvr>
                                      <p:to>
                                        <p:strVal val="visible"/>
                                      </p:to>
                                    </p:set>
                                    <p:anim calcmode="lin" valueType="num">
                                      <p:cBhvr additive="base">
                                        <p:cTn id="27" dur="500" fill="hold"/>
                                        <p:tgtEl>
                                          <p:spTgt spid="3">
                                            <p:graphicEl>
                                              <a:dgm id="{10F04D1F-6356-4752-887B-CD7A3E2E0497}"/>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10F04D1F-6356-4752-887B-CD7A3E2E0497}"/>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graphicEl>
                                              <a:dgm id="{A78314E7-759C-41CA-B713-B84430751291}"/>
                                            </p:graphicEl>
                                          </p:spTgt>
                                        </p:tgtEl>
                                        <p:attrNameLst>
                                          <p:attrName>style.visibility</p:attrName>
                                        </p:attrNameLst>
                                      </p:cBhvr>
                                      <p:to>
                                        <p:strVal val="visible"/>
                                      </p:to>
                                    </p:set>
                                    <p:anim calcmode="lin" valueType="num">
                                      <p:cBhvr additive="base">
                                        <p:cTn id="31" dur="500" fill="hold"/>
                                        <p:tgtEl>
                                          <p:spTgt spid="3">
                                            <p:graphicEl>
                                              <a:dgm id="{A78314E7-759C-41CA-B713-B84430751291}"/>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A78314E7-759C-41CA-B713-B84430751291}"/>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DEFFADE9-CD03-46D0-923D-5980512DFC5C}"/>
                                            </p:graphicEl>
                                          </p:spTgt>
                                        </p:tgtEl>
                                        <p:attrNameLst>
                                          <p:attrName>style.visibility</p:attrName>
                                        </p:attrNameLst>
                                      </p:cBhvr>
                                      <p:to>
                                        <p:strVal val="visible"/>
                                      </p:to>
                                    </p:set>
                                    <p:anim calcmode="lin" valueType="num">
                                      <p:cBhvr additive="base">
                                        <p:cTn id="37" dur="500" fill="hold"/>
                                        <p:tgtEl>
                                          <p:spTgt spid="3">
                                            <p:graphicEl>
                                              <a:dgm id="{DEFFADE9-CD03-46D0-923D-5980512DFC5C}"/>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DEFFADE9-CD03-46D0-923D-5980512DFC5C}"/>
                                            </p:graphic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graphicEl>
                                              <a:dgm id="{344CC79B-A282-4DD5-B59A-0717D8D42DCE}"/>
                                            </p:graphicEl>
                                          </p:spTgt>
                                        </p:tgtEl>
                                        <p:attrNameLst>
                                          <p:attrName>style.visibility</p:attrName>
                                        </p:attrNameLst>
                                      </p:cBhvr>
                                      <p:to>
                                        <p:strVal val="visible"/>
                                      </p:to>
                                    </p:set>
                                    <p:anim calcmode="lin" valueType="num">
                                      <p:cBhvr additive="base">
                                        <p:cTn id="41" dur="500" fill="hold"/>
                                        <p:tgtEl>
                                          <p:spTgt spid="3">
                                            <p:graphicEl>
                                              <a:dgm id="{344CC79B-A282-4DD5-B59A-0717D8D42DCE}"/>
                                            </p:graphic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graphicEl>
                                              <a:dgm id="{344CC79B-A282-4DD5-B59A-0717D8D42DCE}"/>
                                            </p:graphic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graphicEl>
                                              <a:dgm id="{51E2C68D-41AA-4832-AFFD-BCD7F5C3D61A}"/>
                                            </p:graphicEl>
                                          </p:spTgt>
                                        </p:tgtEl>
                                        <p:attrNameLst>
                                          <p:attrName>style.visibility</p:attrName>
                                        </p:attrNameLst>
                                      </p:cBhvr>
                                      <p:to>
                                        <p:strVal val="visible"/>
                                      </p:to>
                                    </p:set>
                                    <p:anim calcmode="lin" valueType="num">
                                      <p:cBhvr additive="base">
                                        <p:cTn id="47" dur="500" fill="hold"/>
                                        <p:tgtEl>
                                          <p:spTgt spid="3">
                                            <p:graphicEl>
                                              <a:dgm id="{51E2C68D-41AA-4832-AFFD-BCD7F5C3D61A}"/>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graphicEl>
                                              <a:dgm id="{51E2C68D-41AA-4832-AFFD-BCD7F5C3D61A}"/>
                                            </p:graphic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
                                            <p:graphicEl>
                                              <a:dgm id="{5CB2340A-3435-4333-82AD-485F2AD68472}"/>
                                            </p:graphicEl>
                                          </p:spTgt>
                                        </p:tgtEl>
                                        <p:attrNameLst>
                                          <p:attrName>style.visibility</p:attrName>
                                        </p:attrNameLst>
                                      </p:cBhvr>
                                      <p:to>
                                        <p:strVal val="visible"/>
                                      </p:to>
                                    </p:set>
                                    <p:anim calcmode="lin" valueType="num">
                                      <p:cBhvr additive="base">
                                        <p:cTn id="51" dur="500" fill="hold"/>
                                        <p:tgtEl>
                                          <p:spTgt spid="3">
                                            <p:graphicEl>
                                              <a:dgm id="{5CB2340A-3435-4333-82AD-485F2AD68472}"/>
                                            </p:graphic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graphicEl>
                                              <a:dgm id="{5CB2340A-3435-4333-82AD-485F2AD6847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B5C5001C-EA74-41C3-94A9-3CE2D4705118}"/>
              </a:ext>
            </a:extLst>
          </p:cNvPr>
          <p:cNvSpPr/>
          <p:nvPr/>
        </p:nvSpPr>
        <p:spPr>
          <a:xfrm>
            <a:off x="269239" y="5610026"/>
            <a:ext cx="11653522" cy="1076400"/>
          </a:xfrm>
          <a:custGeom>
            <a:avLst/>
            <a:gdLst>
              <a:gd name="connsiteX0" fmla="*/ 0 w 11653522"/>
              <a:gd name="connsiteY0" fmla="*/ 0 h 1076400"/>
              <a:gd name="connsiteX1" fmla="*/ 11653522 w 11653522"/>
              <a:gd name="connsiteY1" fmla="*/ 0 h 1076400"/>
              <a:gd name="connsiteX2" fmla="*/ 11653522 w 11653522"/>
              <a:gd name="connsiteY2" fmla="*/ 1076400 h 1076400"/>
              <a:gd name="connsiteX3" fmla="*/ 0 w 11653522"/>
              <a:gd name="connsiteY3" fmla="*/ 1076400 h 1076400"/>
              <a:gd name="connsiteX4" fmla="*/ 0 w 11653522"/>
              <a:gd name="connsiteY4" fmla="*/ 0 h 107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076400">
                <a:moveTo>
                  <a:pt x="0" y="0"/>
                </a:moveTo>
                <a:lnTo>
                  <a:pt x="11653522" y="0"/>
                </a:lnTo>
                <a:lnTo>
                  <a:pt x="11653522" y="1076400"/>
                </a:lnTo>
                <a:lnTo>
                  <a:pt x="0" y="1076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82550" rIns="462280" bIns="82550" numCol="1" spcCol="1270" anchor="t" anchorCtr="0">
            <a:noAutofit/>
          </a:bodyPr>
          <a:lstStyle/>
          <a:p>
            <a:pPr marL="285750" lvl="1" indent="-285750" algn="l" defTabSz="2266950">
              <a:lnSpc>
                <a:spcPct val="90000"/>
              </a:lnSpc>
              <a:spcBef>
                <a:spcPct val="0"/>
              </a:spcBef>
              <a:spcAft>
                <a:spcPct val="20000"/>
              </a:spcAft>
              <a:buChar char="•"/>
            </a:pPr>
            <a:endParaRPr lang="nb-NO" sz="5100" kern="1200" dirty="0">
              <a:latin typeface="+mj-lt"/>
            </a:endParaRPr>
          </a:p>
        </p:txBody>
      </p:sp>
      <p:sp>
        <p:nvSpPr>
          <p:cNvPr id="2" name="Title 1"/>
          <p:cNvSpPr>
            <a:spLocks noGrp="1"/>
          </p:cNvSpPr>
          <p:nvPr>
            <p:ph type="title"/>
          </p:nvPr>
        </p:nvSpPr>
        <p:spPr>
          <a:xfrm>
            <a:off x="655638" y="320040"/>
            <a:ext cx="10880725" cy="461665"/>
          </a:xfrm>
        </p:spPr>
        <p:txBody>
          <a:bodyPr/>
          <a:lstStyle/>
          <a:p>
            <a:r>
              <a:rPr lang="en-US" dirty="0"/>
              <a:t>Default Microsoft 365 CDN origins</a:t>
            </a:r>
          </a:p>
        </p:txBody>
      </p:sp>
      <p:graphicFrame>
        <p:nvGraphicFramePr>
          <p:cNvPr id="10" name="Content Placeholder 9">
            <a:extLst>
              <a:ext uri="{FF2B5EF4-FFF2-40B4-BE49-F238E27FC236}">
                <a16:creationId xmlns:a16="http://schemas.microsoft.com/office/drawing/2014/main" id="{8CCC434A-846C-4729-A384-FEDC4E662F92}"/>
              </a:ext>
            </a:extLst>
          </p:cNvPr>
          <p:cNvGraphicFramePr>
            <a:graphicFrameLocks noGrp="1"/>
          </p:cNvGraphicFramePr>
          <p:nvPr>
            <p:ph sz="quarter" idx="13"/>
            <p:extLst>
              <p:ext uri="{D42A27DB-BD31-4B8C-83A1-F6EECF244321}">
                <p14:modId xmlns:p14="http://schemas.microsoft.com/office/powerpoint/2010/main" val="433698337"/>
              </p:ext>
            </p:extLst>
          </p:nvPr>
        </p:nvGraphicFramePr>
        <p:xfrm>
          <a:off x="1171247" y="2008314"/>
          <a:ext cx="9253719" cy="31236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45259166"/>
      </p:ext>
    </p:extLst>
  </p:cSld>
  <p:clrMapOvr>
    <a:masterClrMapping/>
  </p:clrMapOvr>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C3ED6680-9E04-4D59-AFFC-B0AA68697207}"/>
              </a:ext>
            </a:extLst>
          </p:cNvPr>
          <p:cNvSpPr/>
          <p:nvPr/>
        </p:nvSpPr>
        <p:spPr>
          <a:xfrm>
            <a:off x="269239" y="6567125"/>
            <a:ext cx="11653522" cy="82800"/>
          </a:xfrm>
          <a:custGeom>
            <a:avLst/>
            <a:gdLst>
              <a:gd name="connsiteX0" fmla="*/ 0 w 11653522"/>
              <a:gd name="connsiteY0" fmla="*/ 0 h 82800"/>
              <a:gd name="connsiteX1" fmla="*/ 11653522 w 11653522"/>
              <a:gd name="connsiteY1" fmla="*/ 0 h 82800"/>
              <a:gd name="connsiteX2" fmla="*/ 11653522 w 11653522"/>
              <a:gd name="connsiteY2" fmla="*/ 82800 h 82800"/>
              <a:gd name="connsiteX3" fmla="*/ 0 w 11653522"/>
              <a:gd name="connsiteY3" fmla="*/ 82800 h 82800"/>
              <a:gd name="connsiteX4" fmla="*/ 0 w 11653522"/>
              <a:gd name="connsiteY4" fmla="*/ 0 h 8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82800">
                <a:moveTo>
                  <a:pt x="0" y="0"/>
                </a:moveTo>
                <a:lnTo>
                  <a:pt x="11653522" y="0"/>
                </a:lnTo>
                <a:lnTo>
                  <a:pt x="11653522" y="82800"/>
                </a:lnTo>
                <a:lnTo>
                  <a:pt x="0" y="82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6350" rIns="35560" bIns="6350" numCol="1" spcCol="1270" anchor="t" anchorCtr="0">
            <a:noAutofit/>
          </a:bodyPr>
          <a:lstStyle/>
          <a:p>
            <a:pPr marL="57150" lvl="1" indent="-57150" algn="l" defTabSz="177800">
              <a:lnSpc>
                <a:spcPct val="90000"/>
              </a:lnSpc>
              <a:spcBef>
                <a:spcPct val="0"/>
              </a:spcBef>
              <a:spcAft>
                <a:spcPct val="20000"/>
              </a:spcAft>
              <a:buChar char="•"/>
            </a:pPr>
            <a:endParaRPr lang="nb-NO" sz="400" kern="1200" dirty="0">
              <a:latin typeface="+mj-lt"/>
            </a:endParaRPr>
          </a:p>
        </p:txBody>
      </p:sp>
      <p:sp>
        <p:nvSpPr>
          <p:cNvPr id="2" name="Title 1"/>
          <p:cNvSpPr>
            <a:spLocks noGrp="1"/>
          </p:cNvSpPr>
          <p:nvPr>
            <p:ph type="title"/>
          </p:nvPr>
        </p:nvSpPr>
        <p:spPr>
          <a:xfrm>
            <a:off x="655638" y="320040"/>
            <a:ext cx="10880725" cy="461665"/>
          </a:xfrm>
        </p:spPr>
        <p:txBody>
          <a:bodyPr/>
          <a:lstStyle/>
          <a:p>
            <a:r>
              <a:rPr lang="en-US" dirty="0"/>
              <a:t>Adding CDN origins</a:t>
            </a:r>
          </a:p>
        </p:txBody>
      </p:sp>
      <p:graphicFrame>
        <p:nvGraphicFramePr>
          <p:cNvPr id="13" name="Content Placeholder 12">
            <a:extLst>
              <a:ext uri="{FF2B5EF4-FFF2-40B4-BE49-F238E27FC236}">
                <a16:creationId xmlns:a16="http://schemas.microsoft.com/office/drawing/2014/main" id="{95DEA578-7ABA-41D0-A983-C4834C8DD58D}"/>
              </a:ext>
            </a:extLst>
          </p:cNvPr>
          <p:cNvGraphicFramePr>
            <a:graphicFrameLocks noGrp="1"/>
          </p:cNvGraphicFramePr>
          <p:nvPr>
            <p:ph sz="quarter" idx="13"/>
            <p:extLst>
              <p:ext uri="{D42A27DB-BD31-4B8C-83A1-F6EECF244321}">
                <p14:modId xmlns:p14="http://schemas.microsoft.com/office/powerpoint/2010/main" val="573705863"/>
              </p:ext>
            </p:extLst>
          </p:nvPr>
        </p:nvGraphicFramePr>
        <p:xfrm>
          <a:off x="655638" y="1408114"/>
          <a:ext cx="10880725" cy="1932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 15">
            <a:extLst>
              <a:ext uri="{FF2B5EF4-FFF2-40B4-BE49-F238E27FC236}">
                <a16:creationId xmlns:a16="http://schemas.microsoft.com/office/drawing/2014/main" id="{FEA45810-DA63-4B41-A786-0C01A56B915D}"/>
              </a:ext>
            </a:extLst>
          </p:cNvPr>
          <p:cNvGraphicFramePr/>
          <p:nvPr>
            <p:extLst>
              <p:ext uri="{D42A27DB-BD31-4B8C-83A1-F6EECF244321}">
                <p14:modId xmlns:p14="http://schemas.microsoft.com/office/powerpoint/2010/main" val="633552143"/>
              </p:ext>
            </p:extLst>
          </p:nvPr>
        </p:nvGraphicFramePr>
        <p:xfrm>
          <a:off x="655637" y="3517393"/>
          <a:ext cx="10880725" cy="23083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896638001"/>
      </p:ext>
    </p:extLst>
  </p:cSld>
  <p:clrMapOvr>
    <a:masterClrMapping/>
  </p:clrMapOvr>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36C6E-8051-43BE-ADDD-C1A7AAEBD0AF}"/>
              </a:ext>
            </a:extLst>
          </p:cNvPr>
          <p:cNvSpPr>
            <a:spLocks noGrp="1"/>
          </p:cNvSpPr>
          <p:nvPr>
            <p:ph type="title"/>
          </p:nvPr>
        </p:nvSpPr>
        <p:spPr>
          <a:xfrm>
            <a:off x="655638" y="320040"/>
            <a:ext cx="10880725" cy="461665"/>
          </a:xfrm>
        </p:spPr>
        <p:txBody>
          <a:bodyPr wrap="square" anchor="t">
            <a:normAutofit/>
          </a:bodyPr>
          <a:lstStyle/>
          <a:p>
            <a:r>
              <a:rPr lang="en-US" sz="2700"/>
              <a:t>To change the list of file types to include in the Microsoft 365 CDN</a:t>
            </a:r>
          </a:p>
        </p:txBody>
      </p:sp>
      <p:graphicFrame>
        <p:nvGraphicFramePr>
          <p:cNvPr id="6" name="Content Placeholder 2">
            <a:extLst>
              <a:ext uri="{FF2B5EF4-FFF2-40B4-BE49-F238E27FC236}">
                <a16:creationId xmlns:a16="http://schemas.microsoft.com/office/drawing/2014/main" id="{E27C4050-47AA-4430-91A5-42495DFF805D}"/>
              </a:ext>
            </a:extLst>
          </p:cNvPr>
          <p:cNvGraphicFramePr>
            <a:graphicFrameLocks noGrp="1"/>
          </p:cNvGraphicFramePr>
          <p:nvPr>
            <p:ph sz="quarter" idx="13"/>
            <p:extLst>
              <p:ext uri="{D42A27DB-BD31-4B8C-83A1-F6EECF244321}">
                <p14:modId xmlns:p14="http://schemas.microsoft.com/office/powerpoint/2010/main" val="267075245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0747780"/>
      </p:ext>
    </p:extLst>
  </p:cSld>
  <p:clrMapOvr>
    <a:masterClrMapping/>
  </p:clrMapOvr>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0109F-7EB7-4E3A-BF9A-63D2A88C3836}"/>
              </a:ext>
            </a:extLst>
          </p:cNvPr>
          <p:cNvSpPr>
            <a:spLocks noGrp="1"/>
          </p:cNvSpPr>
          <p:nvPr>
            <p:ph type="title"/>
          </p:nvPr>
        </p:nvSpPr>
        <p:spPr>
          <a:xfrm>
            <a:off x="655638" y="320040"/>
            <a:ext cx="10880725" cy="923330"/>
          </a:xfrm>
        </p:spPr>
        <p:txBody>
          <a:bodyPr/>
          <a:lstStyle/>
          <a:p>
            <a:r>
              <a:rPr lang="en-US" dirty="0"/>
              <a:t>To change the list of site classifications you want to exclude from the Microsoft 365 CDN</a:t>
            </a:r>
          </a:p>
        </p:txBody>
      </p:sp>
      <p:sp>
        <p:nvSpPr>
          <p:cNvPr id="3" name="Content Placeholder 2">
            <a:extLst>
              <a:ext uri="{FF2B5EF4-FFF2-40B4-BE49-F238E27FC236}">
                <a16:creationId xmlns:a16="http://schemas.microsoft.com/office/drawing/2014/main" id="{EB855559-345E-4A12-AA0F-A0E9D01AA234}"/>
              </a:ext>
            </a:extLst>
          </p:cNvPr>
          <p:cNvSpPr>
            <a:spLocks noGrp="1"/>
          </p:cNvSpPr>
          <p:nvPr>
            <p:ph sz="quarter" idx="13"/>
          </p:nvPr>
        </p:nvSpPr>
        <p:spPr>
          <a:xfrm>
            <a:off x="655638" y="1702815"/>
            <a:ext cx="10880725" cy="4524947"/>
          </a:xfrm>
        </p:spPr>
        <p:txBody>
          <a:bodyPr/>
          <a:lstStyle/>
          <a:p>
            <a:pPr lvl="0"/>
            <a:r>
              <a:rPr lang="en-US" dirty="0"/>
              <a:t>Use the Set-</a:t>
            </a:r>
            <a:r>
              <a:rPr lang="en-US" dirty="0" err="1"/>
              <a:t>SPOTenantCdnPolicy</a:t>
            </a:r>
            <a:r>
              <a:rPr lang="en-US" dirty="0"/>
              <a:t> cmdlet to exclude site classifications that you do not want to make available over the CDN. By default, no site classifications are excluded</a:t>
            </a:r>
          </a:p>
          <a:p>
            <a:pPr lvl="1"/>
            <a:r>
              <a:rPr lang="en-US" dirty="0">
                <a:latin typeface="Consolas" panose="020B0609020204030204" pitchFamily="49" charset="0"/>
              </a:rPr>
              <a:t>Set-</a:t>
            </a:r>
            <a:r>
              <a:rPr lang="en-US" dirty="0" err="1">
                <a:latin typeface="Consolas" panose="020B0609020204030204" pitchFamily="49" charset="0"/>
              </a:rPr>
              <a:t>SPOTenantCdnPolicy</a:t>
            </a:r>
            <a:r>
              <a:rPr lang="en-US" dirty="0">
                <a:latin typeface="Consolas" panose="020B0609020204030204" pitchFamily="49" charset="0"/>
              </a:rPr>
              <a:t> -</a:t>
            </a:r>
            <a:r>
              <a:rPr lang="en-US" dirty="0" err="1">
                <a:latin typeface="Consolas" panose="020B0609020204030204" pitchFamily="49" charset="0"/>
              </a:rPr>
              <a:t>CdnType</a:t>
            </a:r>
            <a:r>
              <a:rPr lang="en-US" dirty="0">
                <a:latin typeface="Consolas" panose="020B0609020204030204" pitchFamily="49" charset="0"/>
              </a:rPr>
              <a:t> &lt;Public | Private&gt; -</a:t>
            </a:r>
            <a:r>
              <a:rPr lang="en-US" dirty="0" err="1">
                <a:latin typeface="Consolas" panose="020B0609020204030204" pitchFamily="49" charset="0"/>
              </a:rPr>
              <a:t>PolicyType</a:t>
            </a:r>
            <a:r>
              <a:rPr lang="en-US" dirty="0">
                <a:latin typeface="Consolas" panose="020B0609020204030204" pitchFamily="49" charset="0"/>
              </a:rPr>
              <a:t> </a:t>
            </a:r>
            <a:r>
              <a:rPr lang="en-US" dirty="0" err="1">
                <a:latin typeface="Consolas" panose="020B0609020204030204" pitchFamily="49" charset="0"/>
              </a:rPr>
              <a:t>ExcludeRestrictedSiteClassifications</a:t>
            </a:r>
            <a:r>
              <a:rPr lang="en-US" dirty="0">
                <a:latin typeface="Consolas" panose="020B0609020204030204" pitchFamily="49" charset="0"/>
              </a:rPr>
              <a:t>  -</a:t>
            </a:r>
            <a:r>
              <a:rPr lang="en-US" dirty="0" err="1">
                <a:latin typeface="Consolas" panose="020B0609020204030204" pitchFamily="49" charset="0"/>
              </a:rPr>
              <a:t>PolicyValue</a:t>
            </a:r>
            <a:r>
              <a:rPr lang="en-US" dirty="0">
                <a:latin typeface="Consolas" panose="020B0609020204030204" pitchFamily="49" charset="0"/>
              </a:rPr>
              <a:t> "&lt;Comma-separated list of site classifications &gt;"</a:t>
            </a:r>
            <a:endParaRPr lang="nb-NO" dirty="0">
              <a:latin typeface="Consolas" panose="020B0609020204030204" pitchFamily="49" charset="0"/>
            </a:endParaRPr>
          </a:p>
          <a:p>
            <a:pPr lvl="0"/>
            <a:r>
              <a:rPr lang="en-US" dirty="0"/>
              <a:t>To see what site classifications are currently restricted, use the Get-</a:t>
            </a:r>
            <a:r>
              <a:rPr lang="en-US" dirty="0" err="1"/>
              <a:t>SPOTenantCdnPolicies</a:t>
            </a:r>
            <a:r>
              <a:rPr lang="en-US" dirty="0"/>
              <a:t> cmdlet</a:t>
            </a:r>
          </a:p>
          <a:p>
            <a:pPr lvl="1"/>
            <a:r>
              <a:rPr lang="en-US" dirty="0">
                <a:latin typeface="Consolas" panose="020B0609020204030204" pitchFamily="49" charset="0"/>
              </a:rPr>
              <a:t>Get-</a:t>
            </a:r>
            <a:r>
              <a:rPr lang="en-US" dirty="0" err="1">
                <a:latin typeface="Consolas" panose="020B0609020204030204" pitchFamily="49" charset="0"/>
              </a:rPr>
              <a:t>SPOTenantCdnPolicies</a:t>
            </a:r>
            <a:r>
              <a:rPr lang="en-US" dirty="0">
                <a:latin typeface="Consolas" panose="020B0609020204030204" pitchFamily="49" charset="0"/>
              </a:rPr>
              <a:t> -</a:t>
            </a:r>
            <a:r>
              <a:rPr lang="en-US" dirty="0" err="1">
                <a:latin typeface="Consolas" panose="020B0609020204030204" pitchFamily="49" charset="0"/>
              </a:rPr>
              <a:t>CdnType</a:t>
            </a:r>
            <a:r>
              <a:rPr lang="en-US" dirty="0">
                <a:latin typeface="Consolas" panose="020B0609020204030204" pitchFamily="49" charset="0"/>
              </a:rPr>
              <a:t> &lt;Public | Private&gt;</a:t>
            </a:r>
          </a:p>
          <a:p>
            <a:endParaRPr lang="en-US" dirty="0"/>
          </a:p>
        </p:txBody>
      </p:sp>
    </p:spTree>
    <p:extLst>
      <p:ext uri="{BB962C8B-B14F-4D97-AF65-F5344CB8AC3E}">
        <p14:creationId xmlns:p14="http://schemas.microsoft.com/office/powerpoint/2010/main" val="4088800989"/>
      </p:ext>
    </p:extLst>
  </p:cSld>
  <p:clrMapOvr>
    <a:masterClrMapping/>
  </p:clrMapOvr>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Test and Verifying CDN settings using Edge Developer tools</a:t>
            </a:r>
          </a:p>
        </p:txBody>
      </p:sp>
      <p:pic>
        <p:nvPicPr>
          <p:cNvPr id="11" name="Content Placeholder 10">
            <a:extLst>
              <a:ext uri="{FF2B5EF4-FFF2-40B4-BE49-F238E27FC236}">
                <a16:creationId xmlns:a16="http://schemas.microsoft.com/office/drawing/2014/main" id="{A5B89A3F-92D1-41EB-B0BF-4A62DE21F123}"/>
              </a:ext>
            </a:extLst>
          </p:cNvPr>
          <p:cNvPicPr>
            <a:picLocks noGrp="1" noChangeAspect="1"/>
          </p:cNvPicPr>
          <p:nvPr>
            <p:ph sz="quarter" idx="13"/>
          </p:nvPr>
        </p:nvPicPr>
        <p:blipFill>
          <a:blip r:embed="rId3"/>
          <a:stretch>
            <a:fillRect/>
          </a:stretch>
        </p:blipFill>
        <p:spPr>
          <a:xfrm>
            <a:off x="2080143" y="2682875"/>
            <a:ext cx="8031714" cy="3544888"/>
          </a:xfrm>
        </p:spPr>
      </p:pic>
      <p:sp>
        <p:nvSpPr>
          <p:cNvPr id="9" name="Content Placeholder 8">
            <a:extLst>
              <a:ext uri="{FF2B5EF4-FFF2-40B4-BE49-F238E27FC236}">
                <a16:creationId xmlns:a16="http://schemas.microsoft.com/office/drawing/2014/main" id="{FB2FF95D-0CFA-45A2-932F-E6B00A742BED}"/>
              </a:ext>
            </a:extLst>
          </p:cNvPr>
          <p:cNvSpPr>
            <a:spLocks noGrp="1"/>
          </p:cNvSpPr>
          <p:nvPr>
            <p:ph sz="quarter" idx="14"/>
          </p:nvPr>
        </p:nvSpPr>
        <p:spPr>
          <a:xfrm>
            <a:off x="655637" y="1248048"/>
            <a:ext cx="10880726" cy="1137520"/>
          </a:xfrm>
        </p:spPr>
        <p:txBody>
          <a:bodyPr>
            <a:normAutofit fontScale="77500" lnSpcReduction="20000"/>
          </a:bodyPr>
          <a:lstStyle/>
          <a:p>
            <a:pPr marL="342900" lvl="0" indent="-342900">
              <a:buFont typeface="Arial" panose="020B0604020202020204" pitchFamily="34" charset="0"/>
              <a:buChar char="•"/>
            </a:pPr>
            <a:r>
              <a:rPr lang="nb-NO" dirty="0"/>
              <a:t>Sign in to the SharePoint Online site as a normal site user (non-admin) </a:t>
            </a:r>
          </a:p>
          <a:p>
            <a:pPr marL="342900" lvl="0" indent="-342900">
              <a:buFont typeface="Arial" panose="020B0604020202020204" pitchFamily="34" charset="0"/>
              <a:buChar char="•"/>
            </a:pPr>
            <a:r>
              <a:rPr lang="nb-NO" dirty="0"/>
              <a:t>In Microsoft Edge launch the Developer Tools </a:t>
            </a:r>
          </a:p>
          <a:p>
            <a:pPr marL="342900" lvl="0" indent="-342900">
              <a:buFont typeface="Arial" panose="020B0604020202020204" pitchFamily="34" charset="0"/>
              <a:buChar char="•"/>
            </a:pPr>
            <a:r>
              <a:rPr lang="en-US" dirty="0"/>
              <a:t>Load the page and verify images and other assets on page are being served from public or private cdn.sharepoint.com </a:t>
            </a:r>
            <a:endParaRPr lang="nb-NO" dirty="0"/>
          </a:p>
          <a:p>
            <a:endParaRPr lang="en-US" dirty="0"/>
          </a:p>
        </p:txBody>
      </p:sp>
    </p:spTree>
    <p:extLst>
      <p:ext uri="{BB962C8B-B14F-4D97-AF65-F5344CB8AC3E}">
        <p14:creationId xmlns:p14="http://schemas.microsoft.com/office/powerpoint/2010/main" val="227332521"/>
      </p:ext>
    </p:extLst>
  </p:cSld>
  <p:clrMapOvr>
    <a:masterClrMapping/>
  </p:clrMapOvr>
</p:sld>
</file>

<file path=ppt/slides/slide25.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725470408"/>
              </p:ext>
            </p:extLst>
          </p:nvPr>
        </p:nvGraphicFramePr>
        <p:xfrm>
          <a:off x="655638" y="1141000"/>
          <a:ext cx="10880725" cy="4752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ADB983CD-EF20-471C-964F-B520DCF4D3FE}"/>
                                            </p:graphicEl>
                                          </p:spTgt>
                                        </p:tgtEl>
                                        <p:attrNameLst>
                                          <p:attrName>style.visibility</p:attrName>
                                        </p:attrNameLst>
                                      </p:cBhvr>
                                      <p:to>
                                        <p:strVal val="visible"/>
                                      </p:to>
                                    </p:set>
                                    <p:anim calcmode="lin" valueType="num">
                                      <p:cBhvr additive="base">
                                        <p:cTn id="7" dur="500" fill="hold"/>
                                        <p:tgtEl>
                                          <p:spTgt spid="4">
                                            <p:graphicEl>
                                              <a:dgm id="{ADB983CD-EF20-471C-964F-B520DCF4D3FE}"/>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ADB983CD-EF20-471C-964F-B520DCF4D3FE}"/>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67B7BF28-9EB4-4EAF-A69D-58B0FE84BB9E}"/>
                                            </p:graphicEl>
                                          </p:spTgt>
                                        </p:tgtEl>
                                        <p:attrNameLst>
                                          <p:attrName>style.visibility</p:attrName>
                                        </p:attrNameLst>
                                      </p:cBhvr>
                                      <p:to>
                                        <p:strVal val="visible"/>
                                      </p:to>
                                    </p:set>
                                    <p:anim calcmode="lin" valueType="num">
                                      <p:cBhvr additive="base">
                                        <p:cTn id="13" dur="500" fill="hold"/>
                                        <p:tgtEl>
                                          <p:spTgt spid="4">
                                            <p:graphicEl>
                                              <a:dgm id="{67B7BF28-9EB4-4EAF-A69D-58B0FE84BB9E}"/>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67B7BF28-9EB4-4EAF-A69D-58B0FE84BB9E}"/>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FB9B9A09-DE7B-42EC-B9DE-EC481931C524}"/>
                                            </p:graphicEl>
                                          </p:spTgt>
                                        </p:tgtEl>
                                        <p:attrNameLst>
                                          <p:attrName>style.visibility</p:attrName>
                                        </p:attrNameLst>
                                      </p:cBhvr>
                                      <p:to>
                                        <p:strVal val="visible"/>
                                      </p:to>
                                    </p:set>
                                    <p:anim calcmode="lin" valueType="num">
                                      <p:cBhvr additive="base">
                                        <p:cTn id="19" dur="500" fill="hold"/>
                                        <p:tgtEl>
                                          <p:spTgt spid="4">
                                            <p:graphicEl>
                                              <a:dgm id="{FB9B9A09-DE7B-42EC-B9DE-EC481931C524}"/>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FB9B9A09-DE7B-42EC-B9DE-EC481931C524}"/>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FB3F1349-3785-4E6E-9708-EBE55C1DC01C}"/>
                                            </p:graphicEl>
                                          </p:spTgt>
                                        </p:tgtEl>
                                        <p:attrNameLst>
                                          <p:attrName>style.visibility</p:attrName>
                                        </p:attrNameLst>
                                      </p:cBhvr>
                                      <p:to>
                                        <p:strVal val="visible"/>
                                      </p:to>
                                    </p:set>
                                    <p:anim calcmode="lin" valueType="num">
                                      <p:cBhvr additive="base">
                                        <p:cTn id="25" dur="500" fill="hold"/>
                                        <p:tgtEl>
                                          <p:spTgt spid="4">
                                            <p:graphicEl>
                                              <a:dgm id="{FB3F1349-3785-4E6E-9708-EBE55C1DC01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FB3F1349-3785-4E6E-9708-EBE55C1DC01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BD4E8ECE-7125-4BA4-A023-9F900BC521BD}"/>
                                            </p:graphicEl>
                                          </p:spTgt>
                                        </p:tgtEl>
                                        <p:attrNameLst>
                                          <p:attrName>style.visibility</p:attrName>
                                        </p:attrNameLst>
                                      </p:cBhvr>
                                      <p:to>
                                        <p:strVal val="visible"/>
                                      </p:to>
                                    </p:set>
                                    <p:anim calcmode="lin" valueType="num">
                                      <p:cBhvr additive="base">
                                        <p:cTn id="31" dur="500" fill="hold"/>
                                        <p:tgtEl>
                                          <p:spTgt spid="4">
                                            <p:graphicEl>
                                              <a:dgm id="{BD4E8ECE-7125-4BA4-A023-9F900BC521BD}"/>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BD4E8ECE-7125-4BA4-A023-9F900BC521BD}"/>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19D83D99-684B-4D85-A42D-E1927F006482}"/>
                                            </p:graphicEl>
                                          </p:spTgt>
                                        </p:tgtEl>
                                        <p:attrNameLst>
                                          <p:attrName>style.visibility</p:attrName>
                                        </p:attrNameLst>
                                      </p:cBhvr>
                                      <p:to>
                                        <p:strVal val="visible"/>
                                      </p:to>
                                    </p:set>
                                    <p:anim calcmode="lin" valueType="num">
                                      <p:cBhvr additive="base">
                                        <p:cTn id="37" dur="500" fill="hold"/>
                                        <p:tgtEl>
                                          <p:spTgt spid="4">
                                            <p:graphicEl>
                                              <a:dgm id="{19D83D99-684B-4D85-A42D-E1927F006482}"/>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19D83D99-684B-4D85-A42D-E1927F00648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6B59328F-4CE4-4C8E-9166-A873AD9F3D24}"/>
              </a:ext>
            </a:extLst>
          </p:cNvPr>
          <p:cNvSpPr>
            <a:spLocks noGrp="1"/>
          </p:cNvSpPr>
          <p:nvPr>
            <p:ph type="body" sz="quarter" idx="10"/>
          </p:nvPr>
        </p:nvSpPr>
        <p:spPr>
          <a:xfrm>
            <a:off x="5008563" y="630238"/>
            <a:ext cx="6527800" cy="5597525"/>
          </a:xfrm>
        </p:spPr>
        <p:txBody>
          <a:bodyPr/>
          <a:lstStyle/>
          <a:p>
            <a:pPr lvl="0"/>
            <a:r>
              <a:rPr lang="en-US" dirty="0"/>
              <a:t>In this lesson, you learned: </a:t>
            </a:r>
            <a:endParaRPr lang="nb-NO" dirty="0"/>
          </a:p>
          <a:p>
            <a:pPr lvl="1"/>
            <a:r>
              <a:rPr lang="nb-NO" dirty="0"/>
              <a:t>About the tools that can be used to help capture and analyze SharePoint Online page performance issues</a:t>
            </a:r>
          </a:p>
          <a:p>
            <a:pPr lvl="1"/>
            <a:r>
              <a:rPr lang="nb-NO" dirty="0"/>
              <a:t>The importance of content delivery networks (CDNs) and how to configure SharePoint Online to use them</a:t>
            </a:r>
          </a:p>
          <a:p>
            <a:pPr lvl="1"/>
            <a:r>
              <a:rPr lang="nb-NO" dirty="0"/>
              <a:t>How to configuration and use of the Microsoft 365 Content Delivery Network</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9E0A3-3C0B-4331-94DD-A37D078E195C}"/>
              </a:ext>
            </a:extLst>
          </p:cNvPr>
          <p:cNvSpPr>
            <a:spLocks noGrp="1"/>
          </p:cNvSpPr>
          <p:nvPr>
            <p:ph type="title"/>
          </p:nvPr>
        </p:nvSpPr>
        <p:spPr/>
        <p:txBody>
          <a:bodyPr/>
          <a:lstStyle/>
          <a:p>
            <a:r>
              <a:rPr lang="en-US" dirty="0"/>
              <a:t>Lab M6</a:t>
            </a:r>
          </a:p>
        </p:txBody>
      </p:sp>
      <p:sp>
        <p:nvSpPr>
          <p:cNvPr id="3" name="Text Placeholder 2">
            <a:extLst>
              <a:ext uri="{FF2B5EF4-FFF2-40B4-BE49-F238E27FC236}">
                <a16:creationId xmlns:a16="http://schemas.microsoft.com/office/drawing/2014/main" id="{3399E7EA-2727-4027-AB39-3D44BF10BAA3}"/>
              </a:ext>
            </a:extLst>
          </p:cNvPr>
          <p:cNvSpPr>
            <a:spLocks noGrp="1"/>
          </p:cNvSpPr>
          <p:nvPr>
            <p:ph type="body" sz="quarter" idx="10"/>
          </p:nvPr>
        </p:nvSpPr>
        <p:spPr/>
        <p:txBody>
          <a:bodyPr/>
          <a:lstStyle/>
          <a:p>
            <a:r>
              <a:rPr lang="en-US" b="0" i="0" dirty="0">
                <a:solidFill>
                  <a:srgbClr val="000000"/>
                </a:solidFill>
                <a:effectLst/>
                <a:latin typeface="Segoe UI" panose="020B0502040204020203" pitchFamily="34" charset="0"/>
              </a:rPr>
              <a:t>Exercise 1 - Using Microsoft Diagnostic tools</a:t>
            </a:r>
          </a:p>
          <a:p>
            <a:r>
              <a:rPr lang="en-US" b="0" i="0" dirty="0">
                <a:solidFill>
                  <a:srgbClr val="000000"/>
                </a:solidFill>
                <a:effectLst/>
                <a:latin typeface="Segoe UI" panose="020B0502040204020203" pitchFamily="34" charset="0"/>
              </a:rPr>
              <a:t>Exercise 2 - Microsoft 365 Content Delivery Network</a:t>
            </a:r>
          </a:p>
        </p:txBody>
      </p:sp>
    </p:spTree>
    <p:extLst>
      <p:ext uri="{BB962C8B-B14F-4D97-AF65-F5344CB8AC3E}">
        <p14:creationId xmlns:p14="http://schemas.microsoft.com/office/powerpoint/2010/main" val="224564388"/>
      </p:ext>
    </p:extLst>
  </p:cSld>
  <p:clrMapOvr>
    <a:masterClrMapping/>
  </p:clrMapOvr>
</p:sld>
</file>

<file path=ppt/slides/slide2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B55ECD-1BFC-4139-9782-D1890BE44D31}"/>
              </a:ext>
            </a:extLst>
          </p:cNvPr>
          <p:cNvSpPr>
            <a:spLocks noGrp="1"/>
          </p:cNvSpPr>
          <p:nvPr>
            <p:ph type="body" sz="quarter" idx="11"/>
          </p:nvPr>
        </p:nvSpPr>
        <p:spPr>
          <a:xfrm>
            <a:off x="5008563" y="630238"/>
            <a:ext cx="6527800" cy="5597524"/>
          </a:xfrm>
        </p:spPr>
        <p:txBody>
          <a:bodyPr/>
          <a:lstStyle/>
          <a:p>
            <a:pPr marL="0" indent="0">
              <a:buNone/>
            </a:pPr>
            <a:r>
              <a:rPr lang="en-US" dirty="0"/>
              <a:t>After completing this section, you will: </a:t>
            </a:r>
          </a:p>
          <a:p>
            <a:pPr lvl="1"/>
            <a:r>
              <a:rPr lang="nb-NO" dirty="0"/>
              <a:t>Know about tools that can be used to help capture and analyze SharePoint Online page performance issues</a:t>
            </a:r>
          </a:p>
          <a:p>
            <a:pPr lvl="1"/>
            <a:r>
              <a:rPr lang="nb-NO" dirty="0"/>
              <a:t>Understand the importance of content delivery networks (CDNs) and how to configure SharePoint Online to use them</a:t>
            </a:r>
          </a:p>
          <a:p>
            <a:pPr lvl="1"/>
            <a:r>
              <a:rPr lang="nb-NO" dirty="0"/>
              <a:t>Know how to configure and use of the Microsoft 365 Content Delivery Network</a:t>
            </a:r>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Troubleshooting and diagnosing page load performance issues with SharePoint Online </a:t>
            </a:r>
            <a:endParaRPr lang="nb-NO" dirty="0"/>
          </a:p>
        </p:txBody>
      </p:sp>
    </p:spTree>
    <p:extLst>
      <p:ext uri="{BB962C8B-B14F-4D97-AF65-F5344CB8AC3E}">
        <p14:creationId xmlns:p14="http://schemas.microsoft.com/office/powerpoint/2010/main" val="3494802606"/>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Microsoft Edge Developer Tools</a:t>
            </a:r>
          </a:p>
        </p:txBody>
      </p:sp>
      <p:sp>
        <p:nvSpPr>
          <p:cNvPr id="3" name="Content Placeholder 2">
            <a:extLst>
              <a:ext uri="{FF2B5EF4-FFF2-40B4-BE49-F238E27FC236}">
                <a16:creationId xmlns:a16="http://schemas.microsoft.com/office/drawing/2014/main" id="{47BFA45F-C4D1-4E11-976F-FBD7BE2E190A}"/>
              </a:ext>
            </a:extLst>
          </p:cNvPr>
          <p:cNvSpPr>
            <a:spLocks noGrp="1"/>
          </p:cNvSpPr>
          <p:nvPr>
            <p:ph sz="quarter" idx="13"/>
          </p:nvPr>
        </p:nvSpPr>
        <p:spPr>
          <a:xfrm>
            <a:off x="655638" y="1408114"/>
            <a:ext cx="10880726" cy="4819650"/>
          </a:xfrm>
        </p:spPr>
        <p:txBody>
          <a:bodyPr/>
          <a:lstStyle/>
          <a:p>
            <a:pPr lvl="1"/>
            <a:r>
              <a:rPr lang="en-US" dirty="0"/>
              <a:t>The Microsoft Edge </a:t>
            </a:r>
            <a:r>
              <a:rPr lang="en-US" dirty="0" err="1"/>
              <a:t>DevTools</a:t>
            </a:r>
            <a:r>
              <a:rPr lang="en-US" dirty="0"/>
              <a:t> are built with </a:t>
            </a:r>
            <a:r>
              <a:rPr lang="en-US" dirty="0">
                <a:hlinkClick r:id="rId3"/>
              </a:rPr>
              <a:t>TypeScript</a:t>
            </a:r>
            <a:r>
              <a:rPr lang="en-US" dirty="0"/>
              <a:t>, powered by </a:t>
            </a:r>
            <a:r>
              <a:rPr lang="en-US" dirty="0">
                <a:hlinkClick r:id="rId4"/>
              </a:rPr>
              <a:t>open source</a:t>
            </a:r>
            <a:r>
              <a:rPr lang="en-US" dirty="0"/>
              <a:t>, and optimized for modern front-end workflows</a:t>
            </a:r>
          </a:p>
          <a:p>
            <a:pPr lvl="1"/>
            <a:endParaRPr lang="en-US" dirty="0"/>
          </a:p>
          <a:p>
            <a:pPr lvl="1"/>
            <a:r>
              <a:rPr lang="en-US" dirty="0"/>
              <a:t>Using the Edge </a:t>
            </a:r>
            <a:r>
              <a:rPr lang="en-US" dirty="0" err="1"/>
              <a:t>DevTools</a:t>
            </a:r>
            <a:r>
              <a:rPr lang="en-US" dirty="0"/>
              <a:t>, you can debug, test, and speed up your webpages. Whether you need to fine tune your CSS layout, get response times per component on a page, or find a memory leak</a:t>
            </a:r>
          </a:p>
          <a:p>
            <a:pPr lvl="1"/>
            <a:endParaRPr lang="en-US" dirty="0"/>
          </a:p>
          <a:p>
            <a:pPr lvl="1"/>
            <a:r>
              <a:rPr lang="en-US" dirty="0"/>
              <a:t>Also available as a </a:t>
            </a:r>
            <a:r>
              <a:rPr lang="en-US" dirty="0">
                <a:hlinkClick r:id="rId5"/>
              </a:rPr>
              <a:t>standalone Windows 10 app</a:t>
            </a:r>
            <a:r>
              <a:rPr lang="en-US" dirty="0"/>
              <a:t> in the Microsoft Store</a:t>
            </a:r>
            <a:br>
              <a:rPr lang="en-US" dirty="0"/>
            </a:br>
            <a:r>
              <a:rPr lang="en-US" dirty="0">
                <a:hlinkClick r:id="rId5"/>
              </a:rPr>
              <a:t>https://www.microsoft.com/en-us/store/p/microsoft-edge-devtools-preview/9mzbfrmz0mnj</a:t>
            </a:r>
            <a:endParaRPr lang="en-US" dirty="0"/>
          </a:p>
          <a:p>
            <a:pPr lvl="1"/>
            <a:endParaRPr lang="en-US" dirty="0"/>
          </a:p>
          <a:p>
            <a:pPr lvl="1"/>
            <a:r>
              <a:rPr lang="en-US" dirty="0"/>
              <a:t>Press the F12 key on your keyboard to open the tools. If your keyboard doesn't have function keys, you can use the </a:t>
            </a:r>
            <a:r>
              <a:rPr lang="en-US" dirty="0">
                <a:hlinkClick r:id="rId6"/>
              </a:rPr>
              <a:t>Tools</a:t>
            </a:r>
            <a:r>
              <a:rPr lang="en-US" dirty="0"/>
              <a:t> menu</a:t>
            </a:r>
          </a:p>
          <a:p>
            <a:pPr lvl="1"/>
            <a:endParaRPr lang="en-US" noProof="0" dirty="0"/>
          </a:p>
          <a:p>
            <a:pPr lvl="1"/>
            <a:endParaRPr lang="nb-NO" noProof="0" dirty="0"/>
          </a:p>
          <a:p>
            <a:endParaRPr lang="en-US" dirty="0"/>
          </a:p>
        </p:txBody>
      </p:sp>
    </p:spTree>
    <p:extLst>
      <p:ext uri="{BB962C8B-B14F-4D97-AF65-F5344CB8AC3E}">
        <p14:creationId xmlns:p14="http://schemas.microsoft.com/office/powerpoint/2010/main" val="2639107075"/>
      </p:ext>
    </p:extLst>
  </p:cSld>
  <p:clrMapOvr>
    <a:masterClrMapping/>
  </p:clrMapOvr>
</p:sld>
</file>

<file path=ppt/slides/slide7.xml><?xml version="1.0" encoding="utf-8"?>
<p:sld xmlns:a16="http://schemas.microsoft.com/office/drawing/2014/main" xmlns:a14="http://schemas.microsoft.com/office/drawing/2010/main"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9" y="320040"/>
            <a:ext cx="6735762" cy="461665"/>
          </a:xfrm>
        </p:spPr>
        <p:txBody>
          <a:bodyPr vert="horz" wrap="square" lIns="0" tIns="0" rIns="0" bIns="0" rtlCol="0" anchor="t">
            <a:normAutofit fontScale="90000"/>
          </a:bodyPr>
          <a:lstStyle/>
          <a:p>
            <a:r>
              <a:rPr lang="en-US"/>
              <a:t>Microsoft Edge browser Developer Tools </a:t>
            </a:r>
          </a:p>
        </p:txBody>
      </p:sp>
      <p:pic>
        <p:nvPicPr>
          <p:cNvPr id="27" name="Picture Placeholder 26" descr="Work tools on a red background">
            <a:extLst>
              <a:ext uri="{FF2B5EF4-FFF2-40B4-BE49-F238E27FC236}">
                <a16:creationId xmlns:a16="http://schemas.microsoft.com/office/drawing/2014/main" id="{EBF56EEA-82CA-4D06-A9E9-8032C1ACCCDF}"/>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p:pic>
      <p:sp>
        <p:nvSpPr>
          <p:cNvPr id="11" name="Text Placeholder 10">
            <a:extLst>
              <a:ext uri="{FF2B5EF4-FFF2-40B4-BE49-F238E27FC236}">
                <a16:creationId xmlns:a16="http://schemas.microsoft.com/office/drawing/2014/main" id="{11CB6F3B-33A2-4325-99E8-F70B18095ABA}"/>
              </a:ext>
            </a:extLst>
          </p:cNvPr>
          <p:cNvSpPr>
            <a:spLocks noGrp="1"/>
          </p:cNvSpPr>
          <p:nvPr>
            <p:ph type="body" sz="quarter" idx="23"/>
          </p:nvPr>
        </p:nvSpPr>
        <p:spPr>
          <a:xfrm>
            <a:off x="655638" y="962758"/>
            <a:ext cx="6735762" cy="5285642"/>
          </a:xfrm>
        </p:spPr>
        <p:txBody>
          <a:bodyPr>
            <a:normAutofit lnSpcReduction="10000"/>
          </a:bodyPr>
          <a:lstStyle/>
          <a:p>
            <a:r>
              <a:rPr lang="en-US" sz="1600" b="1" dirty="0">
                <a:latin typeface="+mn-lt"/>
                <a:hlinkClick r:id="rId4">
                  <a:extLst>
                    <a:ext uri="{A12FA001-AC4F-418D-AE19-62706E023703}">
                      <ahyp:hlinkClr xmlns:ahyp="http://schemas.microsoft.com/office/drawing/2018/hyperlinkcolor" val="tx"/>
                    </a:ext>
                  </a:extLst>
                </a:hlinkClick>
              </a:rPr>
              <a:t>Elements</a:t>
            </a:r>
            <a:r>
              <a:rPr lang="en-US" sz="1600" dirty="0">
                <a:latin typeface="+mn-lt"/>
              </a:rPr>
              <a:t> panel to edit HTML and CSS, inspect accessibility properties, view event listeners, and set DOM mutation breakpoints</a:t>
            </a:r>
          </a:p>
          <a:p>
            <a:r>
              <a:rPr lang="en-US" sz="1600" b="1" dirty="0">
                <a:latin typeface="+mn-lt"/>
                <a:hlinkClick r:id="rId5">
                  <a:extLst>
                    <a:ext uri="{A12FA001-AC4F-418D-AE19-62706E023703}">
                      <ahyp:hlinkClr xmlns:ahyp="http://schemas.microsoft.com/office/drawing/2018/hyperlinkcolor" val="tx"/>
                    </a:ext>
                  </a:extLst>
                </a:hlinkClick>
              </a:rPr>
              <a:t>Console</a:t>
            </a:r>
            <a:r>
              <a:rPr lang="en-US" sz="1600" dirty="0">
                <a:latin typeface="+mn-lt"/>
              </a:rPr>
              <a:t> to view and filter log messages, inspect JavaScript objects and DOM nodes, and run JavaScript in the context of the selected window or frame</a:t>
            </a:r>
          </a:p>
          <a:p>
            <a:r>
              <a:rPr lang="en-US" sz="1600" b="1" dirty="0">
                <a:latin typeface="+mn-lt"/>
                <a:hlinkClick r:id="rId6">
                  <a:extLst>
                    <a:ext uri="{A12FA001-AC4F-418D-AE19-62706E023703}">
                      <ahyp:hlinkClr xmlns:ahyp="http://schemas.microsoft.com/office/drawing/2018/hyperlinkcolor" val="tx"/>
                    </a:ext>
                  </a:extLst>
                </a:hlinkClick>
              </a:rPr>
              <a:t>Debugger</a:t>
            </a:r>
            <a:r>
              <a:rPr lang="en-US" sz="1600" dirty="0">
                <a:latin typeface="+mn-lt"/>
              </a:rPr>
              <a:t> to step through code, set watches and breakpoints, live edit your code, and inspect your web storage and cookie caches</a:t>
            </a:r>
          </a:p>
          <a:p>
            <a:r>
              <a:rPr lang="en-US" sz="1600" b="1" dirty="0">
                <a:latin typeface="+mn-lt"/>
                <a:hlinkClick r:id="rId7">
                  <a:extLst>
                    <a:ext uri="{A12FA001-AC4F-418D-AE19-62706E023703}">
                      <ahyp:hlinkClr xmlns:ahyp="http://schemas.microsoft.com/office/drawing/2018/hyperlinkcolor" val="tx"/>
                    </a:ext>
                  </a:extLst>
                </a:hlinkClick>
              </a:rPr>
              <a:t>Network</a:t>
            </a:r>
            <a:r>
              <a:rPr lang="en-US" sz="1600" dirty="0">
                <a:latin typeface="+mn-lt"/>
              </a:rPr>
              <a:t> panel to monitor and inspect requests and responses from the network and browser cache</a:t>
            </a:r>
          </a:p>
          <a:p>
            <a:r>
              <a:rPr lang="en-US" sz="1600" b="1" dirty="0">
                <a:latin typeface="+mn-lt"/>
                <a:hlinkClick r:id="rId8">
                  <a:extLst>
                    <a:ext uri="{A12FA001-AC4F-418D-AE19-62706E023703}">
                      <ahyp:hlinkClr xmlns:ahyp="http://schemas.microsoft.com/office/drawing/2018/hyperlinkcolor" val="tx"/>
                    </a:ext>
                  </a:extLst>
                </a:hlinkClick>
              </a:rPr>
              <a:t>Performance</a:t>
            </a:r>
            <a:r>
              <a:rPr lang="en-US" sz="1600" dirty="0">
                <a:latin typeface="+mn-lt"/>
              </a:rPr>
              <a:t> panel to profile the time and system resources required by your site</a:t>
            </a:r>
          </a:p>
          <a:p>
            <a:r>
              <a:rPr lang="en-US" sz="1600" b="1" dirty="0">
                <a:latin typeface="+mn-lt"/>
                <a:hlinkClick r:id="rId9">
                  <a:extLst>
                    <a:ext uri="{A12FA001-AC4F-418D-AE19-62706E023703}">
                      <ahyp:hlinkClr xmlns:ahyp="http://schemas.microsoft.com/office/drawing/2018/hyperlinkcolor" val="tx"/>
                    </a:ext>
                  </a:extLst>
                </a:hlinkClick>
              </a:rPr>
              <a:t>Memory</a:t>
            </a:r>
            <a:r>
              <a:rPr lang="en-US" sz="1600" dirty="0">
                <a:latin typeface="+mn-lt"/>
              </a:rPr>
              <a:t> panel to measure your use of memory resources and compare heap snapshots at different states of code execution</a:t>
            </a:r>
          </a:p>
          <a:p>
            <a:r>
              <a:rPr lang="en-US" sz="1600" b="1" dirty="0">
                <a:latin typeface="+mn-lt"/>
                <a:hlinkClick r:id="rId10">
                  <a:extLst>
                    <a:ext uri="{A12FA001-AC4F-418D-AE19-62706E023703}">
                      <ahyp:hlinkClr xmlns:ahyp="http://schemas.microsoft.com/office/drawing/2018/hyperlinkcolor" val="tx"/>
                    </a:ext>
                  </a:extLst>
                </a:hlinkClick>
              </a:rPr>
              <a:t>Emulation</a:t>
            </a:r>
            <a:r>
              <a:rPr lang="en-US" sz="1600" dirty="0">
                <a:latin typeface="+mn-lt"/>
              </a:rPr>
              <a:t> panel to test your site with different browser profiles, screen resolutions, and GPS location coordinates</a:t>
            </a:r>
          </a:p>
          <a:p>
            <a:endParaRPr lang="en-US" sz="1600" dirty="0">
              <a:latin typeface="+mn-lt"/>
            </a:endParaRPr>
          </a:p>
          <a:p>
            <a:r>
              <a:rPr lang="en-US" sz="1600" dirty="0">
                <a:latin typeface="+mn-lt"/>
              </a:rPr>
              <a:t>The stand-alone version of Microsoft Edge </a:t>
            </a:r>
            <a:r>
              <a:rPr lang="en-US" sz="1600" dirty="0" err="1">
                <a:latin typeface="+mn-lt"/>
              </a:rPr>
              <a:t>DevTools</a:t>
            </a:r>
            <a:r>
              <a:rPr lang="en-US" sz="1600" dirty="0">
                <a:latin typeface="+mn-lt"/>
              </a:rPr>
              <a:t> also includes </a:t>
            </a:r>
          </a:p>
          <a:p>
            <a:pPr lvl="1"/>
            <a:r>
              <a:rPr lang="en-US" sz="1400" dirty="0"/>
              <a:t>A </a:t>
            </a:r>
            <a:r>
              <a:rPr lang="en-US" sz="1400" dirty="0">
                <a:hlinkClick r:id="rId11">
                  <a:extLst>
                    <a:ext uri="{A12FA001-AC4F-418D-AE19-62706E023703}">
                      <ahyp:hlinkClr xmlns:ahyp="http://schemas.microsoft.com/office/drawing/2018/hyperlinkcolor" val="tx"/>
                    </a:ext>
                  </a:extLst>
                </a:hlinkClick>
              </a:rPr>
              <a:t>Storage</a:t>
            </a:r>
            <a:r>
              <a:rPr lang="en-US" sz="1400" dirty="0"/>
              <a:t> panel for inspecting and managing your web storage, </a:t>
            </a:r>
            <a:r>
              <a:rPr lang="en-US" sz="1400" dirty="0" err="1"/>
              <a:t>IndexedDB</a:t>
            </a:r>
            <a:r>
              <a:rPr lang="en-US" sz="1400" dirty="0"/>
              <a:t>, cookies and cache data</a:t>
            </a:r>
          </a:p>
          <a:p>
            <a:pPr lvl="1"/>
            <a:r>
              <a:rPr lang="en-US" sz="1400" dirty="0"/>
              <a:t>A </a:t>
            </a:r>
            <a:r>
              <a:rPr lang="en-US" sz="1400" dirty="0">
                <a:hlinkClick r:id="rId12">
                  <a:extLst>
                    <a:ext uri="{A12FA001-AC4F-418D-AE19-62706E023703}">
                      <ahyp:hlinkClr xmlns:ahyp="http://schemas.microsoft.com/office/drawing/2018/hyperlinkcolor" val="tx"/>
                    </a:ext>
                  </a:extLst>
                </a:hlinkClick>
              </a:rPr>
              <a:t>Service Workers</a:t>
            </a:r>
            <a:r>
              <a:rPr lang="en-US" sz="1400" dirty="0"/>
              <a:t> panel for managing and debugging your service workers</a:t>
            </a:r>
          </a:p>
        </p:txBody>
      </p:sp>
      <p:sp>
        <p:nvSpPr>
          <p:cNvPr id="6" name="Freeform: Shape 5">
            <a:extLst>
              <a:ext uri="{FF2B5EF4-FFF2-40B4-BE49-F238E27FC236}">
                <a16:creationId xmlns:a16="http://schemas.microsoft.com/office/drawing/2014/main" id="{3F23A9BE-09C3-43DB-BD3B-5EB34F6A61ED}"/>
              </a:ext>
            </a:extLst>
          </p:cNvPr>
          <p:cNvSpPr/>
          <p:nvPr/>
        </p:nvSpPr>
        <p:spPr>
          <a:xfrm>
            <a:off x="655320" y="1408113"/>
            <a:ext cx="4352925" cy="481965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lIns="0" tIns="0" rIns="0" bIns="0" numCol="1" spcCol="1270" rtlCol="0" anchorCtr="0">
            <a:normAutofit/>
          </a:bodyPr>
          <a:lstStyle/>
          <a:p>
            <a:pPr marL="228600" marR="0" lvl="1" indent="-228600" defTabSz="932688" fontAlgn="auto">
              <a:lnSpc>
                <a:spcPct val="90000"/>
              </a:lnSpc>
              <a:spcBef>
                <a:spcPct val="0"/>
              </a:spcBef>
              <a:spcAft>
                <a:spcPct val="20000"/>
              </a:spcAft>
              <a:buClr>
                <a:schemeClr val="tx1"/>
              </a:buClr>
              <a:buSzPct val="90000"/>
              <a:buFont typeface="Wingdings" panose="05000000000000000000" pitchFamily="2" charset="2"/>
              <a:buChar char="•"/>
              <a:tabLst/>
              <a:defRPr/>
            </a:pPr>
            <a:endParaRPr kumimoji="0" lang="en-US" sz="1300" b="0" i="0" u="none" strike="noStrike" cap="none" normalizeH="0" noProof="0" dirty="0">
              <a:ln>
                <a:noFill/>
              </a:ln>
              <a:solidFill>
                <a:schemeClr val="tx1"/>
              </a:solidFill>
              <a:effectLst/>
              <a:uLnTx/>
              <a:uFillTx/>
            </a:endParaRPr>
          </a:p>
        </p:txBody>
      </p:sp>
    </p:spTree>
    <p:extLst>
      <p:ext uri="{BB962C8B-B14F-4D97-AF65-F5344CB8AC3E}">
        <p14:creationId xmlns:p14="http://schemas.microsoft.com/office/powerpoint/2010/main" val="1009219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Microsoft Edge Developer Tools – Network panel</a:t>
            </a:r>
          </a:p>
        </p:txBody>
      </p:sp>
      <p:sp>
        <p:nvSpPr>
          <p:cNvPr id="4" name="Content Placeholder 3">
            <a:extLst>
              <a:ext uri="{FF2B5EF4-FFF2-40B4-BE49-F238E27FC236}">
                <a16:creationId xmlns:a16="http://schemas.microsoft.com/office/drawing/2014/main" id="{1EEE7248-64DF-4E94-94BD-11946754AE13}"/>
              </a:ext>
            </a:extLst>
          </p:cNvPr>
          <p:cNvSpPr>
            <a:spLocks noGrp="1"/>
          </p:cNvSpPr>
          <p:nvPr>
            <p:ph sz="quarter" idx="13"/>
          </p:nvPr>
        </p:nvSpPr>
        <p:spPr>
          <a:xfrm>
            <a:off x="655639" y="1408113"/>
            <a:ext cx="3501457" cy="4819650"/>
          </a:xfrm>
        </p:spPr>
        <p:txBody>
          <a:bodyPr>
            <a:normAutofit fontScale="70000" lnSpcReduction="20000"/>
          </a:bodyPr>
          <a:lstStyle/>
          <a:p>
            <a:pPr marL="342900" indent="-342900">
              <a:buFont typeface="Arial" panose="020B0604020202020204" pitchFamily="34" charset="0"/>
              <a:buChar char="•"/>
            </a:pPr>
            <a:r>
              <a:rPr lang="en-US" dirty="0"/>
              <a:t>The Network panel is commonly used to monitor, inspect and profile requests and responses sent over the wire. </a:t>
            </a:r>
          </a:p>
          <a:p>
            <a:pPr marL="342900" indent="-342900">
              <a:buFont typeface="Arial" panose="020B0604020202020204" pitchFamily="34" charset="0"/>
              <a:buChar char="•"/>
            </a:pPr>
            <a:r>
              <a:rPr lang="en-US" dirty="0"/>
              <a:t>Browse a record of all resource requests made by a page.</a:t>
            </a:r>
          </a:p>
          <a:p>
            <a:pPr marL="342900" indent="-342900">
              <a:buFont typeface="Arial" panose="020B0604020202020204" pitchFamily="34" charset="0"/>
              <a:buChar char="•"/>
            </a:pPr>
            <a:r>
              <a:rPr lang="en-US" dirty="0"/>
              <a:t>Measure the load time of your page, and individual files and items on page</a:t>
            </a:r>
          </a:p>
          <a:p>
            <a:pPr marL="342900" indent="-342900">
              <a:buFont typeface="Arial" panose="020B0604020202020204" pitchFamily="34" charset="0"/>
              <a:buChar char="•"/>
            </a:pPr>
            <a:r>
              <a:rPr lang="en-US" dirty="0"/>
              <a:t>Inspect the Headers to retrieve the </a:t>
            </a:r>
            <a:r>
              <a:rPr lang="en-US" dirty="0" err="1"/>
              <a:t>SharePointHealthScore</a:t>
            </a:r>
            <a:r>
              <a:rPr lang="en-US" dirty="0"/>
              <a:t> of each request</a:t>
            </a:r>
          </a:p>
          <a:p>
            <a:pPr marL="342900" indent="-342900">
              <a:buFont typeface="Arial" panose="020B0604020202020204" pitchFamily="34" charset="0"/>
              <a:buChar char="•"/>
            </a:pPr>
            <a:r>
              <a:rPr lang="en-US" dirty="0"/>
              <a:t>Inspect the Timing to retrieve TTFB (Time to first byte) and overall load time for a page and individual elements on a page. </a:t>
            </a:r>
          </a:p>
        </p:txBody>
      </p:sp>
      <p:grpSp>
        <p:nvGrpSpPr>
          <p:cNvPr id="16" name="Group 15">
            <a:extLst>
              <a:ext uri="{FF2B5EF4-FFF2-40B4-BE49-F238E27FC236}">
                <a16:creationId xmlns:a16="http://schemas.microsoft.com/office/drawing/2014/main" id="{678656BD-8813-4AC0-A2C9-29ABD73DBEFF}"/>
              </a:ext>
            </a:extLst>
          </p:cNvPr>
          <p:cNvGrpSpPr/>
          <p:nvPr/>
        </p:nvGrpSpPr>
        <p:grpSpPr>
          <a:xfrm>
            <a:off x="4478762" y="1408113"/>
            <a:ext cx="7603108" cy="4243443"/>
            <a:chOff x="3612791" y="1330795"/>
            <a:chExt cx="8309969" cy="4637956"/>
          </a:xfrm>
        </p:grpSpPr>
        <p:pic>
          <p:nvPicPr>
            <p:cNvPr id="17" name="Picture 16">
              <a:extLst>
                <a:ext uri="{FF2B5EF4-FFF2-40B4-BE49-F238E27FC236}">
                  <a16:creationId xmlns:a16="http://schemas.microsoft.com/office/drawing/2014/main" id="{DE782EB8-2659-49D5-896D-0B882C852164}"/>
                </a:ext>
              </a:extLst>
            </p:cNvPr>
            <p:cNvPicPr>
              <a:picLocks noChangeAspect="1"/>
            </p:cNvPicPr>
            <p:nvPr/>
          </p:nvPicPr>
          <p:blipFill>
            <a:blip r:embed="rId3"/>
            <a:stretch>
              <a:fillRect/>
            </a:stretch>
          </p:blipFill>
          <p:spPr>
            <a:xfrm>
              <a:off x="3612791" y="4349926"/>
              <a:ext cx="8309969" cy="1618825"/>
            </a:xfrm>
            <a:prstGeom prst="rect">
              <a:avLst/>
            </a:prstGeom>
          </p:spPr>
        </p:pic>
        <p:pic>
          <p:nvPicPr>
            <p:cNvPr id="18" name="Picture 17">
              <a:extLst>
                <a:ext uri="{FF2B5EF4-FFF2-40B4-BE49-F238E27FC236}">
                  <a16:creationId xmlns:a16="http://schemas.microsoft.com/office/drawing/2014/main" id="{92C6B4B0-2272-4D01-B072-CD6B84DDD84B}"/>
                </a:ext>
              </a:extLst>
            </p:cNvPr>
            <p:cNvPicPr>
              <a:picLocks noChangeAspect="1"/>
            </p:cNvPicPr>
            <p:nvPr/>
          </p:nvPicPr>
          <p:blipFill>
            <a:blip r:embed="rId4"/>
            <a:stretch>
              <a:fillRect/>
            </a:stretch>
          </p:blipFill>
          <p:spPr>
            <a:xfrm>
              <a:off x="3612791" y="1330795"/>
              <a:ext cx="7995004" cy="2877511"/>
            </a:xfrm>
            <a:prstGeom prst="rect">
              <a:avLst/>
            </a:prstGeom>
          </p:spPr>
        </p:pic>
      </p:grpSp>
    </p:spTree>
    <p:extLst>
      <p:ext uri="{BB962C8B-B14F-4D97-AF65-F5344CB8AC3E}">
        <p14:creationId xmlns:p14="http://schemas.microsoft.com/office/powerpoint/2010/main" val="3633241291"/>
      </p:ext>
    </p:extLst>
  </p:cSld>
  <p:clrMapOvr>
    <a:masterClrMapping/>
  </p:clrMapOvr>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Page Diagnostic tool for SharePoint Online</a:t>
            </a:r>
          </a:p>
        </p:txBody>
      </p:sp>
      <p:pic>
        <p:nvPicPr>
          <p:cNvPr id="14" name="Content Placeholder 13" descr="Angled shot of pen on a graph">
            <a:extLst>
              <a:ext uri="{FF2B5EF4-FFF2-40B4-BE49-F238E27FC236}">
                <a16:creationId xmlns:a16="http://schemas.microsoft.com/office/drawing/2014/main" id="{D3D007B4-4C79-49E7-BA46-DF90D79F639A}"/>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b="-1"/>
          <a:stretch/>
        </p:blipFill>
        <p:spPr>
          <a:xfrm>
            <a:off x="8180832" y="1408113"/>
            <a:ext cx="3355529" cy="4819650"/>
          </a:xfrm>
          <a:noFill/>
        </p:spPr>
      </p:pic>
      <p:sp>
        <p:nvSpPr>
          <p:cNvPr id="8" name="Content Placeholder 7">
            <a:extLst>
              <a:ext uri="{FF2B5EF4-FFF2-40B4-BE49-F238E27FC236}">
                <a16:creationId xmlns:a16="http://schemas.microsoft.com/office/drawing/2014/main" id="{BF466C1B-98E9-4C99-99B1-236F3AE9FE12}"/>
              </a:ext>
            </a:extLst>
          </p:cNvPr>
          <p:cNvSpPr>
            <a:spLocks noGrp="1"/>
          </p:cNvSpPr>
          <p:nvPr>
            <p:ph sz="quarter" idx="14"/>
          </p:nvPr>
        </p:nvSpPr>
        <p:spPr>
          <a:xfrm>
            <a:off x="655639" y="1408113"/>
            <a:ext cx="7281354" cy="4819650"/>
          </a:xfrm>
        </p:spPr>
        <p:txBody>
          <a:bodyPr>
            <a:normAutofit/>
          </a:bodyPr>
          <a:lstStyle/>
          <a:p>
            <a:pPr>
              <a:lnSpc>
                <a:spcPct val="90000"/>
              </a:lnSpc>
            </a:pPr>
            <a:r>
              <a:rPr lang="en-US" sz="1900"/>
              <a:t>Use the Page Diagnostic tool to analyze your modern and classic pages against a pre-defined set of performance criteria</a:t>
            </a:r>
          </a:p>
          <a:p>
            <a:pPr>
              <a:lnSpc>
                <a:spcPct val="90000"/>
              </a:lnSpc>
            </a:pPr>
            <a:r>
              <a:rPr lang="en-US" sz="1900"/>
              <a:t>Version 2.0.0 (and later) of the Page Diagnostics tool for SharePoint is a browser extension for Chrome and Microsoft Edge version 77 and later. ​</a:t>
            </a:r>
          </a:p>
          <a:p>
            <a:pPr>
              <a:lnSpc>
                <a:spcPct val="90000"/>
              </a:lnSpc>
            </a:pPr>
            <a:r>
              <a:rPr lang="en-US" sz="1900"/>
              <a:t>Version 2.0.0 and later includes support for modern pages and classic pages​.</a:t>
            </a:r>
          </a:p>
          <a:p>
            <a:pPr>
              <a:lnSpc>
                <a:spcPct val="90000"/>
              </a:lnSpc>
            </a:pPr>
            <a:r>
              <a:rPr lang="en-US" sz="1900"/>
              <a:t>Microsoft does not read the data or websites you visit, and we do not capture any personal information, website or download information with this tool. ​</a:t>
            </a:r>
          </a:p>
          <a:p>
            <a:pPr lvl="1">
              <a:lnSpc>
                <a:spcPct val="90000"/>
              </a:lnSpc>
            </a:pPr>
            <a:r>
              <a:rPr lang="en-US" sz="1900"/>
              <a:t>The only information logged by the tool is the Tenant name, Rule count and whether the support logging option has been utilized when the tool is run​.</a:t>
            </a:r>
          </a:p>
          <a:p>
            <a:pPr>
              <a:lnSpc>
                <a:spcPct val="90000"/>
              </a:lnSpc>
            </a:pPr>
            <a:r>
              <a:rPr lang="en-US" sz="1900"/>
              <a:t>Page diagnostic tool can also be found at Microsoft Edge Add on site</a:t>
            </a:r>
          </a:p>
          <a:p>
            <a:pPr lvl="1">
              <a:lnSpc>
                <a:spcPct val="90000"/>
              </a:lnSpc>
            </a:pPr>
            <a:r>
              <a:rPr lang="en-US" sz="1900">
                <a:hlinkClick r:id="rId4"/>
              </a:rPr>
              <a:t>Page diagnostics for SharePoint - Microsoft Edge Addons</a:t>
            </a:r>
            <a:endParaRPr lang="en-US" sz="1900"/>
          </a:p>
        </p:txBody>
      </p:sp>
    </p:spTree>
    <p:extLst>
      <p:ext uri="{BB962C8B-B14F-4D97-AF65-F5344CB8AC3E}">
        <p14:creationId xmlns:p14="http://schemas.microsoft.com/office/powerpoint/2010/main" val="3887140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SharedWithUsers xmlns="fe98aad2-1487-46eb-a06a-887f57cb5a45">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A6E5FB-A9EC-4AA1-B13A-C1043E7833CB}">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 ds:uri="fe98aad2-1487-46eb-a06a-887f57cb5a45"/>
  </ds:schemaRefs>
</ds:datastoreItem>
</file>

<file path=customXml/itemProps2.xml><?xml version="1.0" encoding="utf-8"?>
<ds:datastoreItem xmlns:ds="http://schemas.openxmlformats.org/officeDocument/2006/customXml" ds:itemID="{C802920C-D6FD-4A18-8A4A-94F91AAEC464}">
  <ds:schemaRefs>
    <ds:schemaRef ds:uri="http://schemas.microsoft.com/sharepoint/v3/contenttype/forms"/>
  </ds:schemaRefs>
</ds:datastoreItem>
</file>

<file path=customXml/itemProps3.xml><?xml version="1.0" encoding="utf-8"?>
<ds:datastoreItem xmlns:ds="http://schemas.openxmlformats.org/officeDocument/2006/customXml" ds:itemID="{E8ADD3F2-E2E4-4B8C-8CDE-86D7AA350DA4}"/>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4390</Words>
  <Application>Microsoft Office PowerPoint</Application>
  <PresentationFormat>Widescreen</PresentationFormat>
  <Paragraphs>355</Paragraphs>
  <Slides>28</Slides>
  <Notes>25</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8</vt:i4>
      </vt:variant>
    </vt:vector>
  </HeadingPairs>
  <TitlesOfParts>
    <vt:vector size="39" baseType="lpstr">
      <vt:lpstr>&amp;quot</vt:lpstr>
      <vt:lpstr>Arial</vt:lpstr>
      <vt:lpstr>Calibri</vt:lpstr>
      <vt:lpstr>Calibri Light</vt:lpstr>
      <vt:lpstr>Comic Sans MS</vt:lpstr>
      <vt:lpstr>Consolas</vt:lpstr>
      <vt:lpstr>Segoe UI</vt:lpstr>
      <vt:lpstr>Segoe UI Light</vt:lpstr>
      <vt:lpstr>Segoe UI Semibold</vt:lpstr>
      <vt:lpstr>Wingdings</vt:lpstr>
      <vt:lpstr>Dark Blue</vt:lpstr>
      <vt:lpstr>SharePoint Online page load performance troubleshooting</vt:lpstr>
      <vt:lpstr>PowerPoint Presentation</vt:lpstr>
      <vt:lpstr>Students: How to View This Presentation</vt:lpstr>
      <vt:lpstr>Objectives</vt:lpstr>
      <vt:lpstr>Troubleshooting and diagnosing page load performance issues with SharePoint Online </vt:lpstr>
      <vt:lpstr>Microsoft Edge Developer Tools</vt:lpstr>
      <vt:lpstr>Microsoft Edge browser Developer Tools </vt:lpstr>
      <vt:lpstr>Microsoft Edge Developer Tools – Network panel</vt:lpstr>
      <vt:lpstr>Page Diagnostic tool for SharePoint Online</vt:lpstr>
      <vt:lpstr>Page Diagnostic tool for SharePoint Online </vt:lpstr>
      <vt:lpstr>Demonstration</vt:lpstr>
      <vt:lpstr>Using the Content Delivery Network (CDN) </vt:lpstr>
      <vt:lpstr>Content Delivery Network </vt:lpstr>
      <vt:lpstr>CDN Planning</vt:lpstr>
      <vt:lpstr>Public CDN origins</vt:lpstr>
      <vt:lpstr>Attributes and advantages of hosting assets in a public origin</vt:lpstr>
      <vt:lpstr>Private CDN origins</vt:lpstr>
      <vt:lpstr>Attributes and advantages of hosting assets in a private origin</vt:lpstr>
      <vt:lpstr>Enabling the Microsoft 365 CDN in your tenant</vt:lpstr>
      <vt:lpstr>Default Microsoft 365 CDN origins</vt:lpstr>
      <vt:lpstr>Adding CDN origins</vt:lpstr>
      <vt:lpstr>To change the list of file types to include in the Microsoft 365 CDN</vt:lpstr>
      <vt:lpstr>To change the list of site classifications you want to exclude from the Microsoft 365 CDN</vt:lpstr>
      <vt:lpstr>Test and Verifying CDN settings using Edge Developer tools</vt:lpstr>
      <vt:lpstr>Knowledge Check</vt:lpstr>
      <vt:lpstr>Summary</vt:lpstr>
      <vt:lpstr>Lab M6</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3:15:03.0000000Z</dcterms:created>
  <dcterms:modified xsi:type="dcterms:W3CDTF">2023-01-08T06:40:16.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y fmtid="{D5CDD505-2E9C-101B-9397-08002B2CF9AE}" pid="4" name="Order">
    <vt:r8>366600</vt:r8>
  </op:property>
  <op:property fmtid="{D5CDD505-2E9C-101B-9397-08002B2CF9AE}" pid="5" name="xd_ProgID">
    <vt:lpwstr/>
  </op:property>
  <op:property fmtid="{D5CDD505-2E9C-101B-9397-08002B2CF9AE}" pid="6" name="_SourceUrl">
    <vt:lpwstr/>
  </op:property>
  <op:property fmtid="{D5CDD505-2E9C-101B-9397-08002B2CF9AE}" pid="7" name="_SharedFileIndex">
    <vt:lpwstr/>
  </op:property>
  <op:property fmtid="{D5CDD505-2E9C-101B-9397-08002B2CF9AE}" pid="8" name="TemplateUrl">
    <vt:lpwstr/>
  </op:property>
  <op:property fmtid="{D5CDD505-2E9C-101B-9397-08002B2CF9AE}" pid="9" name="ComplianceAssetId">
    <vt:lpwstr/>
  </op:property>
  <op:property fmtid="{D5CDD505-2E9C-101B-9397-08002B2CF9AE}" pid="10" name="_ExtendedDescription">
    <vt:lpwstr/>
  </op:property>
  <op:property fmtid="{D5CDD505-2E9C-101B-9397-08002B2CF9AE}" pid="11" name="TriggerFlowInfo">
    <vt:lpwstr/>
  </op:property>
  <op:property fmtid="{D5CDD505-2E9C-101B-9397-08002B2CF9AE}" pid="12" name="xd_Signature">
    <vt:bool>false</vt:bool>
  </op:property>
</op:Properties>
</file>